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64" r:id="rId2"/>
  </p:sldMasterIdLst>
  <p:notesMasterIdLst>
    <p:notesMasterId r:id="rId21"/>
  </p:notesMasterIdLst>
  <p:sldIdLst>
    <p:sldId id="259" r:id="rId3"/>
    <p:sldId id="627" r:id="rId4"/>
    <p:sldId id="620" r:id="rId5"/>
    <p:sldId id="621" r:id="rId6"/>
    <p:sldId id="286" r:id="rId7"/>
    <p:sldId id="635" r:id="rId8"/>
    <p:sldId id="624" r:id="rId9"/>
    <p:sldId id="634" r:id="rId10"/>
    <p:sldId id="285" r:id="rId11"/>
    <p:sldId id="287" r:id="rId12"/>
    <p:sldId id="628" r:id="rId13"/>
    <p:sldId id="632" r:id="rId14"/>
    <p:sldId id="622" r:id="rId15"/>
    <p:sldId id="332" r:id="rId16"/>
    <p:sldId id="629" r:id="rId17"/>
    <p:sldId id="625" r:id="rId18"/>
    <p:sldId id="626" r:id="rId19"/>
    <p:sldId id="631" r:id="rId20"/>
  </p:sldIdLst>
  <p:sldSz cx="12192000" cy="6858000"/>
  <p:notesSz cx="7004050" cy="9296400"/>
  <p:defaultTextStyle>
    <a:defPPr>
      <a:defRPr lang="es-ES_trad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0407"/>
    <a:srgbClr val="003D77"/>
    <a:srgbClr val="EB6608"/>
    <a:srgbClr val="FCC4C8"/>
    <a:srgbClr val="FF6161"/>
    <a:srgbClr val="FF1B1B"/>
    <a:srgbClr val="A10F3C"/>
    <a:srgbClr val="DE0000"/>
    <a:srgbClr val="0D4677"/>
    <a:srgbClr val="EBA3B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04" autoAdjust="0"/>
    <p:restoredTop sz="94687"/>
  </p:normalViewPr>
  <p:slideViewPr>
    <p:cSldViewPr snapToGrid="0" snapToObjects="1">
      <p:cViewPr varScale="1">
        <p:scale>
          <a:sx n="66" d="100"/>
          <a:sy n="66" d="100"/>
        </p:scale>
        <p:origin x="816" y="7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theme" Target="theme/theme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3035300" cy="466725"/>
          </a:xfrm>
          <a:prstGeom prst="rect">
            <a:avLst/>
          </a:prstGeom>
        </p:spPr>
        <p:txBody>
          <a:bodyPr vert="horz" lIns="91440" tIns="45720" rIns="91440" bIns="45720" rtlCol="0"/>
          <a:lstStyle>
            <a:lvl1pPr algn="l">
              <a:defRPr sz="1200"/>
            </a:lvl1pPr>
          </a:lstStyle>
          <a:p>
            <a:endParaRPr lang="es-CO"/>
          </a:p>
        </p:txBody>
      </p:sp>
      <p:sp>
        <p:nvSpPr>
          <p:cNvPr id="3" name="Marcador de fecha 2"/>
          <p:cNvSpPr>
            <a:spLocks noGrp="1"/>
          </p:cNvSpPr>
          <p:nvPr>
            <p:ph type="dt" idx="1"/>
          </p:nvPr>
        </p:nvSpPr>
        <p:spPr>
          <a:xfrm>
            <a:off x="3967163" y="0"/>
            <a:ext cx="3035300" cy="466725"/>
          </a:xfrm>
          <a:prstGeom prst="rect">
            <a:avLst/>
          </a:prstGeom>
        </p:spPr>
        <p:txBody>
          <a:bodyPr vert="horz" lIns="91440" tIns="45720" rIns="91440" bIns="45720" rtlCol="0"/>
          <a:lstStyle>
            <a:lvl1pPr algn="r">
              <a:defRPr sz="1200"/>
            </a:lvl1pPr>
          </a:lstStyle>
          <a:p>
            <a:fld id="{01BFE876-5919-4640-8286-EE588F78489C}" type="datetimeFigureOut">
              <a:rPr lang="es-CO" smtClean="0"/>
              <a:t>8/01/2020</a:t>
            </a:fld>
            <a:endParaRPr lang="es-CO"/>
          </a:p>
        </p:txBody>
      </p:sp>
      <p:sp>
        <p:nvSpPr>
          <p:cNvPr id="4" name="Marcador de imagen de diapositiva 3"/>
          <p:cNvSpPr>
            <a:spLocks noGrp="1" noRot="1" noChangeAspect="1"/>
          </p:cNvSpPr>
          <p:nvPr>
            <p:ph type="sldImg" idx="2"/>
          </p:nvPr>
        </p:nvSpPr>
        <p:spPr>
          <a:xfrm>
            <a:off x="714375" y="1162050"/>
            <a:ext cx="5575300" cy="3136900"/>
          </a:xfrm>
          <a:prstGeom prst="rect">
            <a:avLst/>
          </a:prstGeom>
          <a:noFill/>
          <a:ln w="12700">
            <a:solidFill>
              <a:prstClr val="black"/>
            </a:solidFill>
          </a:ln>
        </p:spPr>
        <p:txBody>
          <a:bodyPr vert="horz" lIns="91440" tIns="45720" rIns="91440" bIns="45720" rtlCol="0" anchor="ctr"/>
          <a:lstStyle/>
          <a:p>
            <a:endParaRPr lang="es-CO"/>
          </a:p>
        </p:txBody>
      </p:sp>
      <p:sp>
        <p:nvSpPr>
          <p:cNvPr id="5" name="Marcador de notas 4"/>
          <p:cNvSpPr>
            <a:spLocks noGrp="1"/>
          </p:cNvSpPr>
          <p:nvPr>
            <p:ph type="body" sz="quarter" idx="3"/>
          </p:nvPr>
        </p:nvSpPr>
        <p:spPr>
          <a:xfrm>
            <a:off x="700088" y="4473575"/>
            <a:ext cx="5603875" cy="3660775"/>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CO"/>
          </a:p>
        </p:txBody>
      </p:sp>
      <p:sp>
        <p:nvSpPr>
          <p:cNvPr id="6" name="Marcador de pie de página 5"/>
          <p:cNvSpPr>
            <a:spLocks noGrp="1"/>
          </p:cNvSpPr>
          <p:nvPr>
            <p:ph type="ftr" sz="quarter" idx="4"/>
          </p:nvPr>
        </p:nvSpPr>
        <p:spPr>
          <a:xfrm>
            <a:off x="0" y="8829675"/>
            <a:ext cx="3035300" cy="466725"/>
          </a:xfrm>
          <a:prstGeom prst="rect">
            <a:avLst/>
          </a:prstGeom>
        </p:spPr>
        <p:txBody>
          <a:bodyPr vert="horz" lIns="91440" tIns="45720" rIns="91440" bIns="45720" rtlCol="0" anchor="b"/>
          <a:lstStyle>
            <a:lvl1pPr algn="l">
              <a:defRPr sz="1200"/>
            </a:lvl1pPr>
          </a:lstStyle>
          <a:p>
            <a:endParaRPr lang="es-CO"/>
          </a:p>
        </p:txBody>
      </p:sp>
      <p:sp>
        <p:nvSpPr>
          <p:cNvPr id="7" name="Marcador de número de diapositiva 6"/>
          <p:cNvSpPr>
            <a:spLocks noGrp="1"/>
          </p:cNvSpPr>
          <p:nvPr>
            <p:ph type="sldNum" sz="quarter" idx="5"/>
          </p:nvPr>
        </p:nvSpPr>
        <p:spPr>
          <a:xfrm>
            <a:off x="3967163" y="8829675"/>
            <a:ext cx="3035300" cy="466725"/>
          </a:xfrm>
          <a:prstGeom prst="rect">
            <a:avLst/>
          </a:prstGeom>
        </p:spPr>
        <p:txBody>
          <a:bodyPr vert="horz" lIns="91440" tIns="45720" rIns="91440" bIns="45720" rtlCol="0" anchor="b"/>
          <a:lstStyle>
            <a:lvl1pPr algn="r">
              <a:defRPr sz="1200"/>
            </a:lvl1pPr>
          </a:lstStyle>
          <a:p>
            <a:fld id="{48699206-ED76-480F-BE1F-E5490435D080}" type="slidenum">
              <a:rPr lang="es-CO" smtClean="0"/>
              <a:t>‹Nº›</a:t>
            </a:fld>
            <a:endParaRPr lang="es-CO"/>
          </a:p>
        </p:txBody>
      </p:sp>
    </p:spTree>
    <p:extLst>
      <p:ext uri="{BB962C8B-B14F-4D97-AF65-F5344CB8AC3E}">
        <p14:creationId xmlns:p14="http://schemas.microsoft.com/office/powerpoint/2010/main" val="8250737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8"/>
        <p:cNvGrpSpPr/>
        <p:nvPr/>
      </p:nvGrpSpPr>
      <p:grpSpPr>
        <a:xfrm>
          <a:off x="0" y="0"/>
          <a:ext cx="0" cy="0"/>
          <a:chOff x="0" y="0"/>
          <a:chExt cx="0" cy="0"/>
        </a:xfrm>
      </p:grpSpPr>
      <p:sp>
        <p:nvSpPr>
          <p:cNvPr id="119" name="Google Shape;119;g495ef59f35_0_4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120" name="Google Shape;120;g495ef59f35_0_4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37192622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CO"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4EBC66-937A-4F39-99C5-34B791856643}" type="slidenum">
              <a:rPr kumimoji="0" lang="es-CO"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s-CO"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29354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0"/>
        <p:cNvGrpSpPr/>
        <p:nvPr/>
      </p:nvGrpSpPr>
      <p:grpSpPr>
        <a:xfrm>
          <a:off x="0" y="0"/>
          <a:ext cx="0" cy="0"/>
          <a:chOff x="0" y="0"/>
          <a:chExt cx="0" cy="0"/>
        </a:xfrm>
      </p:grpSpPr>
      <p:sp>
        <p:nvSpPr>
          <p:cNvPr id="211" name="Google Shape;211;p1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
        <p:nvSpPr>
          <p:cNvPr id="212" name="Google Shape;212;p1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936035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apositiva de título 1 1 1" preserve="1" userDrawn="1">
  <p:cSld name="Diapositiva de título 1 1 1">
    <p:bg>
      <p:bgPr>
        <a:solidFill>
          <a:srgbClr val="069169"/>
        </a:solidFill>
        <a:effectLst/>
      </p:bgPr>
    </p:bg>
    <p:spTree>
      <p:nvGrpSpPr>
        <p:cNvPr id="1" name="Shape 29"/>
        <p:cNvGrpSpPr/>
        <p:nvPr/>
      </p:nvGrpSpPr>
      <p:grpSpPr>
        <a:xfrm>
          <a:off x="0" y="0"/>
          <a:ext cx="0" cy="0"/>
          <a:chOff x="0" y="0"/>
          <a:chExt cx="0" cy="0"/>
        </a:xfrm>
      </p:grpSpPr>
      <p:sp>
        <p:nvSpPr>
          <p:cNvPr id="30" name="Google Shape;30;p5"/>
          <p:cNvSpPr txBox="1"/>
          <p:nvPr/>
        </p:nvSpPr>
        <p:spPr>
          <a:xfrm>
            <a:off x="11115328" y="72861"/>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a:solidFill>
                <a:srgbClr val="0054BC"/>
              </a:solidFill>
              <a:latin typeface="Work Sans"/>
              <a:ea typeface="Work Sans"/>
              <a:cs typeface="Work Sans"/>
              <a:sym typeface="Work Sans"/>
            </a:endParaRPr>
          </a:p>
        </p:txBody>
      </p:sp>
      <p:sp>
        <p:nvSpPr>
          <p:cNvPr id="31" name="Google Shape;31;p5"/>
          <p:cNvSpPr txBox="1"/>
          <p:nvPr userDrawn="1"/>
        </p:nvSpPr>
        <p:spPr>
          <a:xfrm>
            <a:off x="11115328" y="-28739"/>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FFFFFF"/>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dirty="0">
              <a:solidFill>
                <a:srgbClr val="FFFFFF"/>
              </a:solidFill>
              <a:latin typeface="Work Sans"/>
              <a:ea typeface="Work Sans"/>
              <a:cs typeface="Work Sans"/>
              <a:sym typeface="Work Sans"/>
            </a:endParaRPr>
          </a:p>
        </p:txBody>
      </p:sp>
      <p:sp>
        <p:nvSpPr>
          <p:cNvPr id="32" name="Google Shape;32;p5"/>
          <p:cNvSpPr/>
          <p:nvPr/>
        </p:nvSpPr>
        <p:spPr>
          <a:xfrm>
            <a:off x="4284926" y="0"/>
            <a:ext cx="7913631" cy="6858000"/>
          </a:xfrm>
          <a:prstGeom prst="rect">
            <a:avLst/>
          </a:prstGeom>
          <a:solidFill>
            <a:schemeClr val="accent1"/>
          </a:solidFill>
          <a:ln>
            <a:noFill/>
          </a:ln>
        </p:spPr>
        <p:txBody>
          <a:bodyPr spcFirstLastPara="1" wrap="square" lIns="121900" tIns="60933" rIns="121900" bIns="60933" anchor="ctr" anchorCtr="0">
            <a:noAutofit/>
          </a:bodyPr>
          <a:lstStyle/>
          <a:p>
            <a:pPr marL="0" marR="0" lvl="0" indent="0" algn="ctr" rtl="0">
              <a:lnSpc>
                <a:spcPct val="100000"/>
              </a:lnSpc>
              <a:spcBef>
                <a:spcPts val="0"/>
              </a:spcBef>
              <a:spcAft>
                <a:spcPts val="0"/>
              </a:spcAft>
              <a:buNone/>
            </a:pPr>
            <a:endParaRPr sz="1867" b="0" i="0" u="none" strike="noStrike" cap="none">
              <a:solidFill>
                <a:schemeClr val="lt1"/>
              </a:solidFill>
              <a:latin typeface="Arial"/>
              <a:ea typeface="Arial"/>
              <a:cs typeface="Arial"/>
              <a:sym typeface="Arial"/>
            </a:endParaRPr>
          </a:p>
        </p:txBody>
      </p:sp>
      <p:sp>
        <p:nvSpPr>
          <p:cNvPr id="33" name="Google Shape;33;p5"/>
          <p:cNvSpPr txBox="1"/>
          <p:nvPr/>
        </p:nvSpPr>
        <p:spPr>
          <a:xfrm>
            <a:off x="1464624" y="6474856"/>
            <a:ext cx="5724000" cy="454400"/>
          </a:xfrm>
          <a:prstGeom prst="rect">
            <a:avLst/>
          </a:prstGeom>
          <a:noFill/>
          <a:ln>
            <a:noFill/>
          </a:ln>
        </p:spPr>
        <p:txBody>
          <a:bodyPr spcFirstLastPara="1" wrap="square" lIns="121900" tIns="121900" rIns="121900" bIns="121900" anchor="t" anchorCtr="0">
            <a:noAutofit/>
          </a:bodyPr>
          <a:lstStyle/>
          <a:p>
            <a:pPr marL="0" marR="0" lvl="0" indent="0" algn="l" rtl="0">
              <a:lnSpc>
                <a:spcPct val="100000"/>
              </a:lnSpc>
              <a:spcBef>
                <a:spcPts val="0"/>
              </a:spcBef>
              <a:spcAft>
                <a:spcPts val="0"/>
              </a:spcAft>
              <a:buClr>
                <a:srgbClr val="000000"/>
              </a:buClr>
              <a:buSzPts val="600"/>
              <a:buFont typeface="Arial"/>
              <a:buNone/>
            </a:pPr>
            <a:r>
              <a:rPr lang="es-CO" sz="800" b="0" i="0" u="none" strike="noStrike" cap="none">
                <a:solidFill>
                  <a:schemeClr val="lt1"/>
                </a:solidFill>
                <a:latin typeface="Work Sans"/>
                <a:ea typeface="Work Sans"/>
                <a:cs typeface="Work Sans"/>
                <a:sym typeface="Work Sans"/>
              </a:rPr>
              <a:t>Esta presentación es propiedad intelectual controlada y producida por la Presidencia de la República.</a:t>
            </a:r>
            <a:endParaRPr sz="800" b="0" i="0" u="none" strike="noStrike" cap="none">
              <a:solidFill>
                <a:schemeClr val="lt1"/>
              </a:solidFill>
              <a:latin typeface="Work Sans"/>
              <a:ea typeface="Work Sans"/>
              <a:cs typeface="Work Sans"/>
              <a:sym typeface="Work Sans"/>
            </a:endParaRPr>
          </a:p>
        </p:txBody>
      </p:sp>
      <p:pic>
        <p:nvPicPr>
          <p:cNvPr id="9" name="Imagen 8">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991857" y="462140"/>
            <a:ext cx="3489271" cy="995539"/>
          </a:xfrm>
          <a:prstGeom prst="rect">
            <a:avLst/>
          </a:prstGeom>
        </p:spPr>
      </p:pic>
      <p:sp>
        <p:nvSpPr>
          <p:cNvPr id="4" name="Marcador de texto 3">
            <a:extLst>
              <a:ext uri="{FF2B5EF4-FFF2-40B4-BE49-F238E27FC236}">
                <a16:creationId xmlns:a16="http://schemas.microsoft.com/office/drawing/2014/main" id="{09EBB03E-157E-1743-86F1-8874FFB41BEB}"/>
              </a:ext>
            </a:extLst>
          </p:cNvPr>
          <p:cNvSpPr>
            <a:spLocks noGrp="1"/>
          </p:cNvSpPr>
          <p:nvPr>
            <p:ph type="body" sz="quarter" idx="10"/>
          </p:nvPr>
        </p:nvSpPr>
        <p:spPr>
          <a:xfrm>
            <a:off x="4614672" y="1919818"/>
            <a:ext cx="6866128" cy="1799167"/>
          </a:xfrm>
        </p:spPr>
        <p:txBody>
          <a:bodyPr/>
          <a:lstStyle>
            <a:lvl1pPr marL="126997" indent="0" algn="r">
              <a:buNone/>
              <a:defRPr sz="4000">
                <a:solidFill>
                  <a:srgbClr val="0054BC"/>
                </a:solidFill>
              </a:defRPr>
            </a:lvl1pPr>
          </a:lstStyle>
          <a:p>
            <a:r>
              <a:rPr lang="es-ES" dirty="0"/>
              <a:t>Editar los estilos de texto del patrón</a:t>
            </a:r>
            <a:endParaRPr lang="es-CO" dirty="0"/>
          </a:p>
        </p:txBody>
      </p:sp>
      <p:pic>
        <p:nvPicPr>
          <p:cNvPr id="10" name="Imagen 9">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36489" y="5029179"/>
            <a:ext cx="5205444" cy="976021"/>
          </a:xfrm>
          <a:prstGeom prst="rect">
            <a:avLst/>
          </a:prstGeom>
        </p:spPr>
      </p:pic>
    </p:spTree>
    <p:extLst>
      <p:ext uri="{BB962C8B-B14F-4D97-AF65-F5344CB8AC3E}">
        <p14:creationId xmlns:p14="http://schemas.microsoft.com/office/powerpoint/2010/main" val="38392937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Encabezado de sección" type="secHead">
  <p:cSld name="Encabezado de sección">
    <p:bg>
      <p:bgPr>
        <a:solidFill>
          <a:srgbClr val="DCEBFB"/>
        </a:solidFill>
        <a:effectLst/>
      </p:bgPr>
    </p:bg>
    <p:spTree>
      <p:nvGrpSpPr>
        <p:cNvPr id="1" name="Shape 40"/>
        <p:cNvGrpSpPr/>
        <p:nvPr/>
      </p:nvGrpSpPr>
      <p:grpSpPr>
        <a:xfrm>
          <a:off x="0" y="0"/>
          <a:ext cx="0" cy="0"/>
          <a:chOff x="0" y="0"/>
          <a:chExt cx="0" cy="0"/>
        </a:xfrm>
      </p:grpSpPr>
      <p:sp>
        <p:nvSpPr>
          <p:cNvPr id="41" name="Google Shape;41;p7"/>
          <p:cNvSpPr txBox="1">
            <a:spLocks noGrp="1"/>
          </p:cNvSpPr>
          <p:nvPr>
            <p:ph type="body" idx="1"/>
          </p:nvPr>
        </p:nvSpPr>
        <p:spPr>
          <a:xfrm>
            <a:off x="1996035" y="1327104"/>
            <a:ext cx="2471231" cy="1271864"/>
          </a:xfrm>
          <a:prstGeom prst="rect">
            <a:avLst/>
          </a:prstGeom>
          <a:noFill/>
          <a:ln>
            <a:noFill/>
          </a:ln>
        </p:spPr>
        <p:txBody>
          <a:bodyPr spcFirstLastPara="1" wrap="square" lIns="68575" tIns="34275" rIns="68575" bIns="34275" anchor="t" anchorCtr="0"/>
          <a:lstStyle>
            <a:lvl1pPr marL="609585" lvl="0" indent="-304792" algn="r">
              <a:lnSpc>
                <a:spcPct val="90000"/>
              </a:lnSpc>
              <a:spcBef>
                <a:spcPts val="1067"/>
              </a:spcBef>
              <a:spcAft>
                <a:spcPts val="0"/>
              </a:spcAft>
              <a:buSzPts val="1100"/>
              <a:buFont typeface="Work Sans Light"/>
              <a:buNone/>
              <a:defRPr sz="9600" b="1">
                <a:solidFill>
                  <a:srgbClr val="0054BC"/>
                </a:solidFill>
                <a:latin typeface="Work Sans"/>
                <a:ea typeface="Work Sans"/>
                <a:cs typeface="Work Sans"/>
                <a:sym typeface="Work Sans"/>
              </a:defRPr>
            </a:lvl1pPr>
            <a:lvl2pPr marL="1219170" lvl="1"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2pPr>
            <a:lvl3pPr marL="1828754" lvl="2"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3pPr>
            <a:lvl4pPr marL="2438339" lvl="3"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4pPr>
            <a:lvl5pPr marL="3047924" lvl="4"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5pPr>
            <a:lvl6pPr marL="3657509" lvl="5"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6pPr>
            <a:lvl7pPr marL="4267093" lvl="6"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7pPr>
            <a:lvl8pPr marL="4876678" lvl="7"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8pPr>
            <a:lvl9pPr marL="5486263" lvl="8"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9pPr>
          </a:lstStyle>
          <a:p>
            <a:endParaRPr dirty="0"/>
          </a:p>
        </p:txBody>
      </p:sp>
      <p:sp>
        <p:nvSpPr>
          <p:cNvPr id="42" name="Google Shape;42;p7"/>
          <p:cNvSpPr txBox="1">
            <a:spLocks noGrp="1"/>
          </p:cNvSpPr>
          <p:nvPr>
            <p:ph type="title" hasCustomPrompt="1"/>
          </p:nvPr>
        </p:nvSpPr>
        <p:spPr>
          <a:xfrm>
            <a:off x="5024967" y="2285819"/>
            <a:ext cx="6336800" cy="858400"/>
          </a:xfrm>
          <a:prstGeom prst="rect">
            <a:avLst/>
          </a:prstGeom>
          <a:noFill/>
          <a:ln>
            <a:noFill/>
          </a:ln>
        </p:spPr>
        <p:txBody>
          <a:bodyPr spcFirstLastPara="1" wrap="square" lIns="68575" tIns="34275" rIns="68575" bIns="34275" anchor="ctr" anchorCtr="0"/>
          <a:lstStyle>
            <a:lvl1pPr lvl="0" algn="l">
              <a:lnSpc>
                <a:spcPct val="90000"/>
              </a:lnSpc>
              <a:spcBef>
                <a:spcPts val="0"/>
              </a:spcBef>
              <a:spcAft>
                <a:spcPts val="0"/>
              </a:spcAft>
              <a:buClr>
                <a:srgbClr val="FFFFFF"/>
              </a:buClr>
              <a:buSzPts val="1400"/>
              <a:buFont typeface="Work Sans SemiBold"/>
              <a:buNone/>
              <a:defRPr sz="4000">
                <a:solidFill>
                  <a:srgbClr val="0054BC"/>
                </a:solidFill>
                <a:latin typeface="Work Sans Light"/>
                <a:ea typeface="Work Sans Light"/>
                <a:cs typeface="Work Sans Light"/>
                <a:sym typeface="Work Sans Light"/>
              </a:defRPr>
            </a:lvl1pPr>
            <a:lvl2pPr lvl="1" algn="l">
              <a:lnSpc>
                <a:spcPct val="100000"/>
              </a:lnSpc>
              <a:spcBef>
                <a:spcPts val="0"/>
              </a:spcBef>
              <a:spcAft>
                <a:spcPts val="0"/>
              </a:spcAft>
              <a:buClr>
                <a:srgbClr val="FFFFFF"/>
              </a:buClr>
              <a:buSzPts val="1100"/>
              <a:buNone/>
              <a:defRPr>
                <a:solidFill>
                  <a:srgbClr val="FFFFFF"/>
                </a:solidFill>
              </a:defRPr>
            </a:lvl2pPr>
            <a:lvl3pPr lvl="2" algn="l">
              <a:lnSpc>
                <a:spcPct val="100000"/>
              </a:lnSpc>
              <a:spcBef>
                <a:spcPts val="0"/>
              </a:spcBef>
              <a:spcAft>
                <a:spcPts val="0"/>
              </a:spcAft>
              <a:buClr>
                <a:srgbClr val="FFFFFF"/>
              </a:buClr>
              <a:buSzPts val="1100"/>
              <a:buNone/>
              <a:defRPr>
                <a:solidFill>
                  <a:srgbClr val="FFFFFF"/>
                </a:solidFill>
              </a:defRPr>
            </a:lvl3pPr>
            <a:lvl4pPr lvl="3" algn="l">
              <a:lnSpc>
                <a:spcPct val="100000"/>
              </a:lnSpc>
              <a:spcBef>
                <a:spcPts val="0"/>
              </a:spcBef>
              <a:spcAft>
                <a:spcPts val="0"/>
              </a:spcAft>
              <a:buClr>
                <a:srgbClr val="FFFFFF"/>
              </a:buClr>
              <a:buSzPts val="1100"/>
              <a:buNone/>
              <a:defRPr>
                <a:solidFill>
                  <a:srgbClr val="FFFFFF"/>
                </a:solidFill>
              </a:defRPr>
            </a:lvl4pPr>
            <a:lvl5pPr lvl="4" algn="l">
              <a:lnSpc>
                <a:spcPct val="100000"/>
              </a:lnSpc>
              <a:spcBef>
                <a:spcPts val="0"/>
              </a:spcBef>
              <a:spcAft>
                <a:spcPts val="0"/>
              </a:spcAft>
              <a:buClr>
                <a:srgbClr val="FFFFFF"/>
              </a:buClr>
              <a:buSzPts val="1100"/>
              <a:buNone/>
              <a:defRPr>
                <a:solidFill>
                  <a:srgbClr val="FFFFFF"/>
                </a:solidFill>
              </a:defRPr>
            </a:lvl5pPr>
            <a:lvl6pPr lvl="5" algn="l">
              <a:lnSpc>
                <a:spcPct val="100000"/>
              </a:lnSpc>
              <a:spcBef>
                <a:spcPts val="0"/>
              </a:spcBef>
              <a:spcAft>
                <a:spcPts val="0"/>
              </a:spcAft>
              <a:buClr>
                <a:srgbClr val="FFFFFF"/>
              </a:buClr>
              <a:buSzPts val="1100"/>
              <a:buNone/>
              <a:defRPr>
                <a:solidFill>
                  <a:srgbClr val="FFFFFF"/>
                </a:solidFill>
              </a:defRPr>
            </a:lvl6pPr>
            <a:lvl7pPr lvl="6" algn="l">
              <a:lnSpc>
                <a:spcPct val="100000"/>
              </a:lnSpc>
              <a:spcBef>
                <a:spcPts val="0"/>
              </a:spcBef>
              <a:spcAft>
                <a:spcPts val="0"/>
              </a:spcAft>
              <a:buClr>
                <a:srgbClr val="FFFFFF"/>
              </a:buClr>
              <a:buSzPts val="1100"/>
              <a:buNone/>
              <a:defRPr>
                <a:solidFill>
                  <a:srgbClr val="FFFFFF"/>
                </a:solidFill>
              </a:defRPr>
            </a:lvl7pPr>
            <a:lvl8pPr lvl="7" algn="l">
              <a:lnSpc>
                <a:spcPct val="100000"/>
              </a:lnSpc>
              <a:spcBef>
                <a:spcPts val="0"/>
              </a:spcBef>
              <a:spcAft>
                <a:spcPts val="0"/>
              </a:spcAft>
              <a:buClr>
                <a:srgbClr val="FFFFFF"/>
              </a:buClr>
              <a:buSzPts val="1100"/>
              <a:buNone/>
              <a:defRPr>
                <a:solidFill>
                  <a:srgbClr val="FFFFFF"/>
                </a:solidFill>
              </a:defRPr>
            </a:lvl8pPr>
            <a:lvl9pPr lvl="8" algn="l">
              <a:lnSpc>
                <a:spcPct val="100000"/>
              </a:lnSpc>
              <a:spcBef>
                <a:spcPts val="0"/>
              </a:spcBef>
              <a:spcAft>
                <a:spcPts val="0"/>
              </a:spcAft>
              <a:buClr>
                <a:srgbClr val="FFFFFF"/>
              </a:buClr>
              <a:buSzPts val="1100"/>
              <a:buNone/>
              <a:defRPr>
                <a:solidFill>
                  <a:srgbClr val="FFFFFF"/>
                </a:solidFill>
              </a:defRPr>
            </a:lvl9pPr>
          </a:lstStyle>
          <a:p>
            <a:r>
              <a:rPr lang="es-ES" dirty="0"/>
              <a:t> </a:t>
            </a:r>
            <a:endParaRPr dirty="0"/>
          </a:p>
        </p:txBody>
      </p:sp>
      <p:sp>
        <p:nvSpPr>
          <p:cNvPr id="43" name="Google Shape;43;p7"/>
          <p:cNvSpPr txBox="1">
            <a:spLocks noGrp="1"/>
          </p:cNvSpPr>
          <p:nvPr>
            <p:ph type="body" idx="2"/>
          </p:nvPr>
        </p:nvSpPr>
        <p:spPr>
          <a:xfrm>
            <a:off x="5014833" y="3368796"/>
            <a:ext cx="6336800" cy="1781989"/>
          </a:xfrm>
          <a:prstGeom prst="rect">
            <a:avLst/>
          </a:prstGeom>
          <a:noFill/>
          <a:ln>
            <a:noFill/>
          </a:ln>
        </p:spPr>
        <p:txBody>
          <a:bodyPr spcFirstLastPara="1" wrap="square" lIns="68575" tIns="34275" rIns="68575" bIns="34275" anchor="t" anchorCtr="0"/>
          <a:lstStyle>
            <a:lvl1pPr marL="609585" lvl="0" indent="-304792" algn="l">
              <a:lnSpc>
                <a:spcPct val="90000"/>
              </a:lnSpc>
              <a:spcBef>
                <a:spcPts val="1067"/>
              </a:spcBef>
              <a:spcAft>
                <a:spcPts val="0"/>
              </a:spcAft>
              <a:buClr>
                <a:srgbClr val="FFFFFF"/>
              </a:buClr>
              <a:buSzPts val="1100"/>
              <a:buFont typeface="Work Sans Light"/>
              <a:buNone/>
              <a:defRPr sz="2000">
                <a:solidFill>
                  <a:srgbClr val="0054BC"/>
                </a:solidFill>
                <a:latin typeface="Work Sans"/>
                <a:ea typeface="Work Sans"/>
                <a:cs typeface="Work Sans"/>
                <a:sym typeface="Work Sans"/>
              </a:defRPr>
            </a:lvl1pPr>
            <a:lvl2pPr marL="1219170" lvl="1"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2pPr>
            <a:lvl3pPr marL="1828754" lvl="2"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3pPr>
            <a:lvl4pPr marL="2438339" lvl="3"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4pPr>
            <a:lvl5pPr marL="3047924" lvl="4"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5pPr>
            <a:lvl6pPr marL="3657509" lvl="5"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6pPr>
            <a:lvl7pPr marL="4267093" lvl="6"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7pPr>
            <a:lvl8pPr marL="4876678" lvl="7"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8pPr>
            <a:lvl9pPr marL="5486263" lvl="8" indent="-397923" algn="l">
              <a:lnSpc>
                <a:spcPct val="90000"/>
              </a:lnSpc>
              <a:spcBef>
                <a:spcPts val="533"/>
              </a:spcBef>
              <a:spcAft>
                <a:spcPts val="0"/>
              </a:spcAft>
              <a:buClr>
                <a:srgbClr val="FFFFFF"/>
              </a:buClr>
              <a:buSzPts val="1100"/>
              <a:buFont typeface="Work Sans Light"/>
              <a:buChar char="•"/>
              <a:defRPr sz="1467">
                <a:solidFill>
                  <a:srgbClr val="FFFFFF"/>
                </a:solidFill>
                <a:latin typeface="Work Sans Light"/>
                <a:ea typeface="Work Sans Light"/>
                <a:cs typeface="Work Sans Light"/>
                <a:sym typeface="Work Sans Light"/>
              </a:defRPr>
            </a:lvl9pPr>
          </a:lstStyle>
          <a:p>
            <a:endParaRPr/>
          </a:p>
        </p:txBody>
      </p:sp>
      <p:sp>
        <p:nvSpPr>
          <p:cNvPr id="45" name="Google Shape;45;p7"/>
          <p:cNvSpPr txBox="1"/>
          <p:nvPr/>
        </p:nvSpPr>
        <p:spPr>
          <a:xfrm>
            <a:off x="11110300" y="8317"/>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dirty="0">
              <a:solidFill>
                <a:srgbClr val="0054BC"/>
              </a:solidFill>
              <a:latin typeface="Work Sans"/>
              <a:ea typeface="Work Sans"/>
              <a:cs typeface="Work Sans"/>
              <a:sym typeface="Work Sans"/>
            </a:endParaRPr>
          </a:p>
        </p:txBody>
      </p:sp>
      <p:pic>
        <p:nvPicPr>
          <p:cNvPr id="11" name="Imagen 10">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1491" y="383006"/>
            <a:ext cx="1491203" cy="425461"/>
          </a:xfrm>
          <a:prstGeom prst="rect">
            <a:avLst/>
          </a:prstGeom>
        </p:spPr>
      </p:pic>
      <p:pic>
        <p:nvPicPr>
          <p:cNvPr id="8" name="Imagen 7">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8386" y="6031265"/>
            <a:ext cx="2493615" cy="467553"/>
          </a:xfrm>
          <a:prstGeom prst="rect">
            <a:avLst/>
          </a:prstGeom>
        </p:spPr>
      </p:pic>
    </p:spTree>
    <p:extLst>
      <p:ext uri="{BB962C8B-B14F-4D97-AF65-F5344CB8AC3E}">
        <p14:creationId xmlns:p14="http://schemas.microsoft.com/office/powerpoint/2010/main" val="257554652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En blanco" type="blank">
  <p:cSld name="En blanco">
    <p:bg>
      <p:bgPr>
        <a:solidFill>
          <a:srgbClr val="DCEAFB"/>
        </a:solidFill>
        <a:effectLst/>
      </p:bgPr>
    </p:bg>
    <p:spTree>
      <p:nvGrpSpPr>
        <p:cNvPr id="1" name="Shape 92"/>
        <p:cNvGrpSpPr/>
        <p:nvPr/>
      </p:nvGrpSpPr>
      <p:grpSpPr>
        <a:xfrm>
          <a:off x="0" y="0"/>
          <a:ext cx="0" cy="0"/>
          <a:chOff x="0" y="0"/>
          <a:chExt cx="0" cy="0"/>
        </a:xfrm>
      </p:grpSpPr>
      <p:sp>
        <p:nvSpPr>
          <p:cNvPr id="95" name="Google Shape;95;p14"/>
          <p:cNvSpPr txBox="1"/>
          <p:nvPr/>
        </p:nvSpPr>
        <p:spPr>
          <a:xfrm>
            <a:off x="11066244" y="0"/>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66CD"/>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dirty="0">
              <a:solidFill>
                <a:srgbClr val="0066CD"/>
              </a:solidFill>
              <a:latin typeface="Work Sans"/>
              <a:ea typeface="Work Sans"/>
              <a:cs typeface="Work Sans"/>
              <a:sym typeface="Work Sans"/>
            </a:endParaRPr>
          </a:p>
        </p:txBody>
      </p:sp>
      <p:pic>
        <p:nvPicPr>
          <p:cNvPr id="9" name="Imagen 8">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1491" y="383006"/>
            <a:ext cx="1491203" cy="425461"/>
          </a:xfrm>
          <a:prstGeom prst="rect">
            <a:avLst/>
          </a:prstGeom>
        </p:spPr>
      </p:pic>
      <p:pic>
        <p:nvPicPr>
          <p:cNvPr id="5" name="Imagen 4">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8386" y="6031265"/>
            <a:ext cx="2493615" cy="467553"/>
          </a:xfrm>
          <a:prstGeom prst="rect">
            <a:avLst/>
          </a:prstGeom>
        </p:spPr>
      </p:pic>
    </p:spTree>
    <p:extLst>
      <p:ext uri="{BB962C8B-B14F-4D97-AF65-F5344CB8AC3E}">
        <p14:creationId xmlns:p14="http://schemas.microsoft.com/office/powerpoint/2010/main" val="32696837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Imagen con título" type="picTx">
  <p:cSld name="Imagen con título">
    <p:bg>
      <p:bgPr>
        <a:solidFill>
          <a:srgbClr val="DCEAFB"/>
        </a:solidFill>
        <a:effectLst/>
      </p:bgPr>
    </p:bg>
    <p:spTree>
      <p:nvGrpSpPr>
        <p:cNvPr id="1" name="Shape 71"/>
        <p:cNvGrpSpPr/>
        <p:nvPr/>
      </p:nvGrpSpPr>
      <p:grpSpPr>
        <a:xfrm>
          <a:off x="0" y="0"/>
          <a:ext cx="0" cy="0"/>
          <a:chOff x="0" y="0"/>
          <a:chExt cx="0" cy="0"/>
        </a:xfrm>
      </p:grpSpPr>
      <p:sp>
        <p:nvSpPr>
          <p:cNvPr id="72" name="Google Shape;72;p10"/>
          <p:cNvSpPr txBox="1">
            <a:spLocks noGrp="1"/>
          </p:cNvSpPr>
          <p:nvPr>
            <p:ph type="body" idx="1"/>
          </p:nvPr>
        </p:nvSpPr>
        <p:spPr>
          <a:xfrm>
            <a:off x="8448168" y="2819456"/>
            <a:ext cx="3136000" cy="2732800"/>
          </a:xfrm>
          <a:prstGeom prst="rect">
            <a:avLst/>
          </a:prstGeom>
          <a:noFill/>
          <a:ln>
            <a:noFill/>
          </a:ln>
        </p:spPr>
        <p:txBody>
          <a:bodyPr spcFirstLastPara="1" wrap="square" lIns="68575" tIns="34275" rIns="68575" bIns="34275" anchor="t" anchorCtr="0"/>
          <a:lstStyle>
            <a:lvl1pPr marL="609585" lvl="0" indent="-304792" algn="l">
              <a:lnSpc>
                <a:spcPct val="90000"/>
              </a:lnSpc>
              <a:spcBef>
                <a:spcPts val="1067"/>
              </a:spcBef>
              <a:spcAft>
                <a:spcPts val="0"/>
              </a:spcAft>
              <a:buSzPts val="1100"/>
              <a:buFont typeface="Work Sans Light"/>
              <a:buNone/>
              <a:defRPr sz="1333">
                <a:solidFill>
                  <a:srgbClr val="0066CD"/>
                </a:solidFill>
                <a:latin typeface="Work Sans"/>
                <a:ea typeface="Work Sans"/>
                <a:cs typeface="Work Sans"/>
                <a:sym typeface="Work Sans"/>
              </a:defRPr>
            </a:lvl1pPr>
            <a:lvl2pPr marL="1219170" lvl="1"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2pPr>
            <a:lvl3pPr marL="1828754" lvl="2"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3pPr>
            <a:lvl4pPr marL="2438339" lvl="3"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4pPr>
            <a:lvl5pPr marL="3047924" lvl="4"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5pPr>
            <a:lvl6pPr marL="3657509" lvl="5"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6pPr>
            <a:lvl7pPr marL="4267093" lvl="6"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7pPr>
            <a:lvl8pPr marL="4876678" lvl="7"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8pPr>
            <a:lvl9pPr marL="5486263" lvl="8" indent="-397923" algn="l">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9pPr>
          </a:lstStyle>
          <a:p>
            <a:endParaRPr/>
          </a:p>
        </p:txBody>
      </p:sp>
      <p:sp>
        <p:nvSpPr>
          <p:cNvPr id="73" name="Google Shape;73;p10"/>
          <p:cNvSpPr>
            <a:spLocks noGrp="1"/>
          </p:cNvSpPr>
          <p:nvPr>
            <p:ph type="pic" idx="2"/>
          </p:nvPr>
        </p:nvSpPr>
        <p:spPr>
          <a:xfrm>
            <a:off x="-1" y="1258130"/>
            <a:ext cx="7085868" cy="4743532"/>
          </a:xfrm>
          <a:prstGeom prst="rect">
            <a:avLst/>
          </a:prstGeom>
          <a:noFill/>
          <a:ln>
            <a:noFill/>
          </a:ln>
        </p:spPr>
        <p:txBody>
          <a:bodyPr spcFirstLastPara="1" wrap="square" lIns="68575" tIns="34275" rIns="68575" bIns="34275" anchor="t" anchorCtr="0"/>
          <a:lstStyle>
            <a:lvl1pPr marR="0" lvl="0" algn="l" rtl="0">
              <a:lnSpc>
                <a:spcPct val="90000"/>
              </a:lnSpc>
              <a:spcBef>
                <a:spcPts val="1067"/>
              </a:spcBef>
              <a:spcAft>
                <a:spcPts val="0"/>
              </a:spcAft>
              <a:buClr>
                <a:schemeClr val="dk1"/>
              </a:buClr>
              <a:buSzPts val="2400"/>
              <a:buFont typeface="Arial"/>
              <a:buNone/>
              <a:defRPr sz="3200" b="0" i="0" u="none" strike="noStrike" cap="none">
                <a:solidFill>
                  <a:schemeClr val="dk1"/>
                </a:solidFill>
                <a:latin typeface="Work Sans"/>
                <a:ea typeface="Work Sans"/>
                <a:cs typeface="Work Sans"/>
                <a:sym typeface="Work Sans"/>
              </a:defRPr>
            </a:lvl1pPr>
            <a:lvl2pPr marR="0" lvl="1" algn="l" rtl="0">
              <a:lnSpc>
                <a:spcPct val="90000"/>
              </a:lnSpc>
              <a:spcBef>
                <a:spcPts val="533"/>
              </a:spcBef>
              <a:spcAft>
                <a:spcPts val="0"/>
              </a:spcAft>
              <a:buClr>
                <a:schemeClr val="dk1"/>
              </a:buClr>
              <a:buSzPts val="2100"/>
              <a:buFont typeface="Arial"/>
              <a:buNone/>
              <a:defRPr sz="2800" b="0" i="0" u="none" strike="noStrike" cap="none">
                <a:solidFill>
                  <a:schemeClr val="dk1"/>
                </a:solidFill>
                <a:latin typeface="Work Sans"/>
                <a:ea typeface="Work Sans"/>
                <a:cs typeface="Work Sans"/>
                <a:sym typeface="Work Sans"/>
              </a:defRPr>
            </a:lvl2pPr>
            <a:lvl3pPr marR="0" lvl="2" algn="l" rtl="0">
              <a:lnSpc>
                <a:spcPct val="90000"/>
              </a:lnSpc>
              <a:spcBef>
                <a:spcPts val="533"/>
              </a:spcBef>
              <a:spcAft>
                <a:spcPts val="0"/>
              </a:spcAft>
              <a:buClr>
                <a:schemeClr val="dk1"/>
              </a:buClr>
              <a:buSzPts val="1800"/>
              <a:buFont typeface="Arial"/>
              <a:buNone/>
              <a:defRPr sz="2400" b="0" i="0" u="none" strike="noStrike" cap="none">
                <a:solidFill>
                  <a:schemeClr val="dk1"/>
                </a:solidFill>
                <a:latin typeface="Work Sans"/>
                <a:ea typeface="Work Sans"/>
                <a:cs typeface="Work Sans"/>
                <a:sym typeface="Work Sans"/>
              </a:defRPr>
            </a:lvl3pPr>
            <a:lvl4pPr marR="0" lvl="3"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4pPr>
            <a:lvl5pPr marR="0" lvl="4"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5pPr>
            <a:lvl6pPr marR="0" lvl="5"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6pPr>
            <a:lvl7pPr marR="0" lvl="6"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7pPr>
            <a:lvl8pPr marR="0" lvl="7"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8pPr>
            <a:lvl9pPr marR="0" lvl="8"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9pPr>
          </a:lstStyle>
          <a:p>
            <a:endParaRPr/>
          </a:p>
        </p:txBody>
      </p:sp>
      <p:sp>
        <p:nvSpPr>
          <p:cNvPr id="74" name="Google Shape;74;p10"/>
          <p:cNvSpPr txBox="1"/>
          <p:nvPr/>
        </p:nvSpPr>
        <p:spPr>
          <a:xfrm>
            <a:off x="11031093" y="8317"/>
            <a:ext cx="731600" cy="524800"/>
          </a:xfrm>
          <a:prstGeom prst="rect">
            <a:avLst/>
          </a:prstGeom>
          <a:noFill/>
          <a:ln>
            <a:noFill/>
          </a:ln>
        </p:spPr>
        <p:txBody>
          <a:bodyPr spcFirstLastPara="1" wrap="square" lIns="121900" tIns="121900" rIns="121900" bIns="121900" anchor="ctr" anchorCtr="0">
            <a:noAutofit/>
          </a:bodyPr>
          <a:lstStyle/>
          <a:p>
            <a:pPr marL="0" marR="0" lvl="0" indent="0" algn="r" rtl="0">
              <a:lnSpc>
                <a:spcPct val="100000"/>
              </a:lnSpc>
              <a:spcBef>
                <a:spcPts val="0"/>
              </a:spcBef>
              <a:spcAft>
                <a:spcPts val="0"/>
              </a:spcAft>
              <a:buClr>
                <a:srgbClr val="000000"/>
              </a:buClr>
              <a:buSzPts val="700"/>
              <a:buFont typeface="Arial"/>
              <a:buNone/>
            </a:pPr>
            <a:fld id="{00000000-1234-1234-1234-123412341234}" type="slidenum">
              <a:rPr lang="es-CO" sz="933" b="0" i="0" u="none" strike="noStrike" cap="none">
                <a:solidFill>
                  <a:srgbClr val="0054BC"/>
                </a:solidFill>
                <a:latin typeface="Work Sans"/>
                <a:ea typeface="Work Sans"/>
                <a:cs typeface="Work Sans"/>
                <a:sym typeface="Work Sans"/>
              </a:rPr>
              <a:pPr marL="0" marR="0" lvl="0" indent="0" algn="r" rtl="0">
                <a:lnSpc>
                  <a:spcPct val="100000"/>
                </a:lnSpc>
                <a:spcBef>
                  <a:spcPts val="0"/>
                </a:spcBef>
                <a:spcAft>
                  <a:spcPts val="0"/>
                </a:spcAft>
                <a:buClr>
                  <a:srgbClr val="000000"/>
                </a:buClr>
                <a:buSzPts val="700"/>
                <a:buFont typeface="Arial"/>
                <a:buNone/>
              </a:pPr>
              <a:t>‹Nº›</a:t>
            </a:fld>
            <a:endParaRPr sz="933" b="0" i="0" u="none" strike="noStrike" cap="none">
              <a:solidFill>
                <a:srgbClr val="0054BC"/>
              </a:solidFill>
              <a:latin typeface="Work Sans"/>
              <a:ea typeface="Work Sans"/>
              <a:cs typeface="Work Sans"/>
              <a:sym typeface="Work Sans"/>
            </a:endParaRPr>
          </a:p>
        </p:txBody>
      </p:sp>
      <p:sp>
        <p:nvSpPr>
          <p:cNvPr id="75" name="Google Shape;75;p10"/>
          <p:cNvSpPr txBox="1">
            <a:spLocks noGrp="1"/>
          </p:cNvSpPr>
          <p:nvPr>
            <p:ph type="title"/>
          </p:nvPr>
        </p:nvSpPr>
        <p:spPr>
          <a:xfrm>
            <a:off x="8448169" y="1736479"/>
            <a:ext cx="3135999" cy="858400"/>
          </a:xfrm>
          <a:prstGeom prst="rect">
            <a:avLst/>
          </a:prstGeom>
          <a:noFill/>
          <a:ln>
            <a:noFill/>
          </a:ln>
        </p:spPr>
        <p:txBody>
          <a:bodyPr spcFirstLastPara="1" wrap="square" lIns="68575" tIns="34275" rIns="68575" bIns="34275" anchor="ctr" anchorCtr="0"/>
          <a:lstStyle>
            <a:lvl1pPr lvl="0" algn="l">
              <a:lnSpc>
                <a:spcPct val="90000"/>
              </a:lnSpc>
              <a:spcBef>
                <a:spcPts val="0"/>
              </a:spcBef>
              <a:spcAft>
                <a:spcPts val="0"/>
              </a:spcAft>
              <a:buClr>
                <a:srgbClr val="FFFFFF"/>
              </a:buClr>
              <a:buSzPts val="1400"/>
              <a:buFont typeface="Work Sans SemiBold"/>
              <a:buNone/>
              <a:defRPr sz="4000">
                <a:solidFill>
                  <a:srgbClr val="0066CD"/>
                </a:solidFill>
                <a:latin typeface="Work Sans Light"/>
                <a:ea typeface="Work Sans Light"/>
                <a:cs typeface="Work Sans Light"/>
                <a:sym typeface="Work Sans Light"/>
              </a:defRPr>
            </a:lvl1pPr>
            <a:lvl2pPr lvl="1" algn="l">
              <a:lnSpc>
                <a:spcPct val="100000"/>
              </a:lnSpc>
              <a:spcBef>
                <a:spcPts val="0"/>
              </a:spcBef>
              <a:spcAft>
                <a:spcPts val="0"/>
              </a:spcAft>
              <a:buClr>
                <a:srgbClr val="FFFFFF"/>
              </a:buClr>
              <a:buSzPts val="1100"/>
              <a:buNone/>
              <a:defRPr>
                <a:solidFill>
                  <a:srgbClr val="FFFFFF"/>
                </a:solidFill>
              </a:defRPr>
            </a:lvl2pPr>
            <a:lvl3pPr lvl="2" algn="l">
              <a:lnSpc>
                <a:spcPct val="100000"/>
              </a:lnSpc>
              <a:spcBef>
                <a:spcPts val="0"/>
              </a:spcBef>
              <a:spcAft>
                <a:spcPts val="0"/>
              </a:spcAft>
              <a:buClr>
                <a:srgbClr val="FFFFFF"/>
              </a:buClr>
              <a:buSzPts val="1100"/>
              <a:buNone/>
              <a:defRPr>
                <a:solidFill>
                  <a:srgbClr val="FFFFFF"/>
                </a:solidFill>
              </a:defRPr>
            </a:lvl3pPr>
            <a:lvl4pPr lvl="3" algn="l">
              <a:lnSpc>
                <a:spcPct val="100000"/>
              </a:lnSpc>
              <a:spcBef>
                <a:spcPts val="0"/>
              </a:spcBef>
              <a:spcAft>
                <a:spcPts val="0"/>
              </a:spcAft>
              <a:buClr>
                <a:srgbClr val="FFFFFF"/>
              </a:buClr>
              <a:buSzPts val="1100"/>
              <a:buNone/>
              <a:defRPr>
                <a:solidFill>
                  <a:srgbClr val="FFFFFF"/>
                </a:solidFill>
              </a:defRPr>
            </a:lvl4pPr>
            <a:lvl5pPr lvl="4" algn="l">
              <a:lnSpc>
                <a:spcPct val="100000"/>
              </a:lnSpc>
              <a:spcBef>
                <a:spcPts val="0"/>
              </a:spcBef>
              <a:spcAft>
                <a:spcPts val="0"/>
              </a:spcAft>
              <a:buClr>
                <a:srgbClr val="FFFFFF"/>
              </a:buClr>
              <a:buSzPts val="1100"/>
              <a:buNone/>
              <a:defRPr>
                <a:solidFill>
                  <a:srgbClr val="FFFFFF"/>
                </a:solidFill>
              </a:defRPr>
            </a:lvl5pPr>
            <a:lvl6pPr lvl="5" algn="l">
              <a:lnSpc>
                <a:spcPct val="100000"/>
              </a:lnSpc>
              <a:spcBef>
                <a:spcPts val="0"/>
              </a:spcBef>
              <a:spcAft>
                <a:spcPts val="0"/>
              </a:spcAft>
              <a:buClr>
                <a:srgbClr val="FFFFFF"/>
              </a:buClr>
              <a:buSzPts val="1100"/>
              <a:buNone/>
              <a:defRPr>
                <a:solidFill>
                  <a:srgbClr val="FFFFFF"/>
                </a:solidFill>
              </a:defRPr>
            </a:lvl6pPr>
            <a:lvl7pPr lvl="6" algn="l">
              <a:lnSpc>
                <a:spcPct val="100000"/>
              </a:lnSpc>
              <a:spcBef>
                <a:spcPts val="0"/>
              </a:spcBef>
              <a:spcAft>
                <a:spcPts val="0"/>
              </a:spcAft>
              <a:buClr>
                <a:srgbClr val="FFFFFF"/>
              </a:buClr>
              <a:buSzPts val="1100"/>
              <a:buNone/>
              <a:defRPr>
                <a:solidFill>
                  <a:srgbClr val="FFFFFF"/>
                </a:solidFill>
              </a:defRPr>
            </a:lvl7pPr>
            <a:lvl8pPr lvl="7" algn="l">
              <a:lnSpc>
                <a:spcPct val="100000"/>
              </a:lnSpc>
              <a:spcBef>
                <a:spcPts val="0"/>
              </a:spcBef>
              <a:spcAft>
                <a:spcPts val="0"/>
              </a:spcAft>
              <a:buClr>
                <a:srgbClr val="FFFFFF"/>
              </a:buClr>
              <a:buSzPts val="1100"/>
              <a:buNone/>
              <a:defRPr>
                <a:solidFill>
                  <a:srgbClr val="FFFFFF"/>
                </a:solidFill>
              </a:defRPr>
            </a:lvl8pPr>
            <a:lvl9pPr lvl="8" algn="l">
              <a:lnSpc>
                <a:spcPct val="100000"/>
              </a:lnSpc>
              <a:spcBef>
                <a:spcPts val="0"/>
              </a:spcBef>
              <a:spcAft>
                <a:spcPts val="0"/>
              </a:spcAft>
              <a:buClr>
                <a:srgbClr val="FFFFFF"/>
              </a:buClr>
              <a:buSzPts val="1100"/>
              <a:buNone/>
              <a:defRPr>
                <a:solidFill>
                  <a:srgbClr val="FFFFFF"/>
                </a:solidFill>
              </a:defRPr>
            </a:lvl9pPr>
          </a:lstStyle>
          <a:p>
            <a:endParaRPr/>
          </a:p>
        </p:txBody>
      </p:sp>
      <p:pic>
        <p:nvPicPr>
          <p:cNvPr id="11" name="Imagen 10">
            <a:extLst>
              <a:ext uri="{FF2B5EF4-FFF2-40B4-BE49-F238E27FC236}">
                <a16:creationId xmlns:a16="http://schemas.microsoft.com/office/drawing/2014/main" id="{2FAB7457-61BC-0144-984D-ACFC03D1DFB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271491" y="383006"/>
            <a:ext cx="1491203" cy="425461"/>
          </a:xfrm>
          <a:prstGeom prst="rect">
            <a:avLst/>
          </a:prstGeom>
        </p:spPr>
      </p:pic>
      <p:pic>
        <p:nvPicPr>
          <p:cNvPr id="8" name="Imagen 7">
            <a:extLst>
              <a:ext uri="{FF2B5EF4-FFF2-40B4-BE49-F238E27FC236}">
                <a16:creationId xmlns:a16="http://schemas.microsoft.com/office/drawing/2014/main" id="{06C4BAFA-CF82-7743-AB31-DAA7A61A692C}"/>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98386" y="6031265"/>
            <a:ext cx="2493615" cy="467553"/>
          </a:xfrm>
          <a:prstGeom prst="rect">
            <a:avLst/>
          </a:prstGeom>
        </p:spPr>
      </p:pic>
    </p:spTree>
    <p:extLst>
      <p:ext uri="{BB962C8B-B14F-4D97-AF65-F5344CB8AC3E}">
        <p14:creationId xmlns:p14="http://schemas.microsoft.com/office/powerpoint/2010/main" val="2368475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Imagen con título 1">
  <p:cSld name="Imagen con título 1">
    <p:bg>
      <p:bgPr>
        <a:solidFill>
          <a:srgbClr val="DCEAFB"/>
        </a:solidFill>
        <a:effectLst/>
      </p:bgPr>
    </p:bg>
    <p:spTree>
      <p:nvGrpSpPr>
        <p:cNvPr id="1" name="Shape 77"/>
        <p:cNvGrpSpPr/>
        <p:nvPr/>
      </p:nvGrpSpPr>
      <p:grpSpPr>
        <a:xfrm>
          <a:off x="0" y="0"/>
          <a:ext cx="0" cy="0"/>
          <a:chOff x="0" y="0"/>
          <a:chExt cx="0" cy="0"/>
        </a:xfrm>
      </p:grpSpPr>
      <p:sp>
        <p:nvSpPr>
          <p:cNvPr id="78" name="Google Shape;78;p11"/>
          <p:cNvSpPr txBox="1">
            <a:spLocks noGrp="1"/>
          </p:cNvSpPr>
          <p:nvPr>
            <p:ph type="body" idx="1"/>
          </p:nvPr>
        </p:nvSpPr>
        <p:spPr>
          <a:xfrm>
            <a:off x="5024968" y="3404467"/>
            <a:ext cx="3136000" cy="2732800"/>
          </a:xfrm>
          <a:prstGeom prst="rect">
            <a:avLst/>
          </a:prstGeom>
          <a:noFill/>
          <a:ln>
            <a:noFill/>
          </a:ln>
        </p:spPr>
        <p:txBody>
          <a:bodyPr spcFirstLastPara="1"/>
          <a:lstStyle>
            <a:lvl1pPr marL="609585" lvl="0" indent="-304792" algn="l" rtl="0">
              <a:lnSpc>
                <a:spcPct val="90000"/>
              </a:lnSpc>
              <a:spcBef>
                <a:spcPts val="1067"/>
              </a:spcBef>
              <a:spcAft>
                <a:spcPts val="0"/>
              </a:spcAft>
              <a:buSzPts val="1100"/>
              <a:buFont typeface="Work Sans Light"/>
              <a:buNone/>
              <a:defRPr sz="1333">
                <a:solidFill>
                  <a:srgbClr val="0066CD"/>
                </a:solidFill>
                <a:latin typeface="Work Sans"/>
                <a:ea typeface="Work Sans"/>
                <a:cs typeface="Work Sans"/>
                <a:sym typeface="Work Sans"/>
              </a:defRPr>
            </a:lvl1pPr>
            <a:lvl2pPr marL="1219170" lvl="1"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2pPr>
            <a:lvl3pPr marL="1828754" lvl="2"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3pPr>
            <a:lvl4pPr marL="2438339" lvl="3"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4pPr>
            <a:lvl5pPr marL="3047924" lvl="4"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5pPr>
            <a:lvl6pPr marL="3657509" lvl="5"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6pPr>
            <a:lvl7pPr marL="4267093" lvl="6"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7pPr>
            <a:lvl8pPr marL="4876678" lvl="7"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8pPr>
            <a:lvl9pPr marL="5486263" lvl="8" indent="-397923" algn="l" rtl="0">
              <a:lnSpc>
                <a:spcPct val="90000"/>
              </a:lnSpc>
              <a:spcBef>
                <a:spcPts val="533"/>
              </a:spcBef>
              <a:spcAft>
                <a:spcPts val="0"/>
              </a:spcAft>
              <a:buSzPts val="1100"/>
              <a:buFont typeface="Work Sans Light"/>
              <a:buChar char="•"/>
              <a:defRPr sz="1467">
                <a:latin typeface="Work Sans Light"/>
                <a:ea typeface="Work Sans Light"/>
                <a:cs typeface="Work Sans Light"/>
                <a:sym typeface="Work Sans Light"/>
              </a:defRPr>
            </a:lvl9pPr>
          </a:lstStyle>
          <a:p>
            <a:endParaRPr/>
          </a:p>
        </p:txBody>
      </p:sp>
      <p:sp>
        <p:nvSpPr>
          <p:cNvPr id="79" name="Google Shape;79;p11"/>
          <p:cNvSpPr>
            <a:spLocks noGrp="1"/>
          </p:cNvSpPr>
          <p:nvPr>
            <p:ph type="pic" idx="2"/>
          </p:nvPr>
        </p:nvSpPr>
        <p:spPr>
          <a:xfrm>
            <a:off x="0" y="0"/>
            <a:ext cx="4564000" cy="6858000"/>
          </a:xfrm>
          <a:prstGeom prst="rect">
            <a:avLst/>
          </a:prstGeom>
          <a:noFill/>
          <a:ln>
            <a:noFill/>
          </a:ln>
        </p:spPr>
        <p:txBody>
          <a:bodyPr spcFirstLastPara="1"/>
          <a:lstStyle>
            <a:lvl1pPr marR="0" lvl="0" algn="l" rtl="0">
              <a:lnSpc>
                <a:spcPct val="90000"/>
              </a:lnSpc>
              <a:spcBef>
                <a:spcPts val="1067"/>
              </a:spcBef>
              <a:spcAft>
                <a:spcPts val="0"/>
              </a:spcAft>
              <a:buClr>
                <a:schemeClr val="dk1"/>
              </a:buClr>
              <a:buSzPts val="2400"/>
              <a:buFont typeface="Arial"/>
              <a:buNone/>
              <a:defRPr sz="3200" b="0" i="0" u="none" strike="noStrike" cap="none">
                <a:solidFill>
                  <a:schemeClr val="dk1"/>
                </a:solidFill>
                <a:latin typeface="Work Sans"/>
                <a:ea typeface="Work Sans"/>
                <a:cs typeface="Work Sans"/>
                <a:sym typeface="Work Sans"/>
              </a:defRPr>
            </a:lvl1pPr>
            <a:lvl2pPr marR="0" lvl="1" algn="l" rtl="0">
              <a:lnSpc>
                <a:spcPct val="90000"/>
              </a:lnSpc>
              <a:spcBef>
                <a:spcPts val="533"/>
              </a:spcBef>
              <a:spcAft>
                <a:spcPts val="0"/>
              </a:spcAft>
              <a:buClr>
                <a:schemeClr val="dk1"/>
              </a:buClr>
              <a:buSzPts val="2100"/>
              <a:buFont typeface="Arial"/>
              <a:buNone/>
              <a:defRPr sz="2800" b="0" i="0" u="none" strike="noStrike" cap="none">
                <a:solidFill>
                  <a:schemeClr val="dk1"/>
                </a:solidFill>
                <a:latin typeface="Work Sans"/>
                <a:ea typeface="Work Sans"/>
                <a:cs typeface="Work Sans"/>
                <a:sym typeface="Work Sans"/>
              </a:defRPr>
            </a:lvl2pPr>
            <a:lvl3pPr marR="0" lvl="2" algn="l" rtl="0">
              <a:lnSpc>
                <a:spcPct val="90000"/>
              </a:lnSpc>
              <a:spcBef>
                <a:spcPts val="533"/>
              </a:spcBef>
              <a:spcAft>
                <a:spcPts val="0"/>
              </a:spcAft>
              <a:buClr>
                <a:schemeClr val="dk1"/>
              </a:buClr>
              <a:buSzPts val="1800"/>
              <a:buFont typeface="Arial"/>
              <a:buNone/>
              <a:defRPr sz="2400" b="0" i="0" u="none" strike="noStrike" cap="none">
                <a:solidFill>
                  <a:schemeClr val="dk1"/>
                </a:solidFill>
                <a:latin typeface="Work Sans"/>
                <a:ea typeface="Work Sans"/>
                <a:cs typeface="Work Sans"/>
                <a:sym typeface="Work Sans"/>
              </a:defRPr>
            </a:lvl3pPr>
            <a:lvl4pPr marR="0" lvl="3"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4pPr>
            <a:lvl5pPr marR="0" lvl="4"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5pPr>
            <a:lvl6pPr marR="0" lvl="5"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6pPr>
            <a:lvl7pPr marR="0" lvl="6"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7pPr>
            <a:lvl8pPr marR="0" lvl="7"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8pPr>
            <a:lvl9pPr marR="0" lvl="8" algn="l" rtl="0">
              <a:lnSpc>
                <a:spcPct val="90000"/>
              </a:lnSpc>
              <a:spcBef>
                <a:spcPts val="533"/>
              </a:spcBef>
              <a:spcAft>
                <a:spcPts val="0"/>
              </a:spcAft>
              <a:buClr>
                <a:schemeClr val="dk1"/>
              </a:buClr>
              <a:buSzPts val="1500"/>
              <a:buFont typeface="Arial"/>
              <a:buNone/>
              <a:defRPr sz="2000" b="0" i="0" u="none" strike="noStrike" cap="none">
                <a:solidFill>
                  <a:schemeClr val="dk1"/>
                </a:solidFill>
                <a:latin typeface="Work Sans"/>
                <a:ea typeface="Work Sans"/>
                <a:cs typeface="Work Sans"/>
                <a:sym typeface="Work Sans"/>
              </a:defRPr>
            </a:lvl9pPr>
          </a:lstStyle>
          <a:p>
            <a:pPr lvl="0"/>
            <a:endParaRPr noProof="0">
              <a:sym typeface="Work Sans"/>
            </a:endParaRPr>
          </a:p>
        </p:txBody>
      </p:sp>
      <p:sp>
        <p:nvSpPr>
          <p:cNvPr id="81" name="Google Shape;81;p11"/>
          <p:cNvSpPr txBox="1">
            <a:spLocks noGrp="1"/>
          </p:cNvSpPr>
          <p:nvPr>
            <p:ph type="title"/>
          </p:nvPr>
        </p:nvSpPr>
        <p:spPr>
          <a:xfrm>
            <a:off x="5024965" y="2310700"/>
            <a:ext cx="5743600" cy="858400"/>
          </a:xfrm>
          <a:prstGeom prst="rect">
            <a:avLst/>
          </a:prstGeom>
          <a:noFill/>
          <a:ln>
            <a:noFill/>
          </a:ln>
        </p:spPr>
        <p:txBody>
          <a:bodyPr spcFirstLastPara="1"/>
          <a:lstStyle>
            <a:lvl1pPr lvl="0" algn="l" rtl="0">
              <a:lnSpc>
                <a:spcPct val="90000"/>
              </a:lnSpc>
              <a:spcBef>
                <a:spcPts val="0"/>
              </a:spcBef>
              <a:spcAft>
                <a:spcPts val="0"/>
              </a:spcAft>
              <a:buClr>
                <a:srgbClr val="FFFFFF"/>
              </a:buClr>
              <a:buSzPts val="1400"/>
              <a:buFont typeface="Work Sans SemiBold"/>
              <a:buNone/>
              <a:defRPr sz="4000">
                <a:solidFill>
                  <a:srgbClr val="0066CD"/>
                </a:solidFill>
                <a:latin typeface="Work Sans Light"/>
                <a:ea typeface="Work Sans Light"/>
                <a:cs typeface="Work Sans Light"/>
                <a:sym typeface="Work Sans Light"/>
              </a:defRPr>
            </a:lvl1pPr>
            <a:lvl2pPr lvl="1" algn="l" rtl="0">
              <a:lnSpc>
                <a:spcPct val="100000"/>
              </a:lnSpc>
              <a:spcBef>
                <a:spcPts val="0"/>
              </a:spcBef>
              <a:spcAft>
                <a:spcPts val="0"/>
              </a:spcAft>
              <a:buClr>
                <a:srgbClr val="FFFFFF"/>
              </a:buClr>
              <a:buSzPts val="1100"/>
              <a:buNone/>
              <a:defRPr>
                <a:solidFill>
                  <a:srgbClr val="FFFFFF"/>
                </a:solidFill>
              </a:defRPr>
            </a:lvl2pPr>
            <a:lvl3pPr lvl="2" algn="l" rtl="0">
              <a:lnSpc>
                <a:spcPct val="100000"/>
              </a:lnSpc>
              <a:spcBef>
                <a:spcPts val="0"/>
              </a:spcBef>
              <a:spcAft>
                <a:spcPts val="0"/>
              </a:spcAft>
              <a:buClr>
                <a:srgbClr val="FFFFFF"/>
              </a:buClr>
              <a:buSzPts val="1100"/>
              <a:buNone/>
              <a:defRPr>
                <a:solidFill>
                  <a:srgbClr val="FFFFFF"/>
                </a:solidFill>
              </a:defRPr>
            </a:lvl3pPr>
            <a:lvl4pPr lvl="3" algn="l" rtl="0">
              <a:lnSpc>
                <a:spcPct val="100000"/>
              </a:lnSpc>
              <a:spcBef>
                <a:spcPts val="0"/>
              </a:spcBef>
              <a:spcAft>
                <a:spcPts val="0"/>
              </a:spcAft>
              <a:buClr>
                <a:srgbClr val="FFFFFF"/>
              </a:buClr>
              <a:buSzPts val="1100"/>
              <a:buNone/>
              <a:defRPr>
                <a:solidFill>
                  <a:srgbClr val="FFFFFF"/>
                </a:solidFill>
              </a:defRPr>
            </a:lvl4pPr>
            <a:lvl5pPr lvl="4" algn="l" rtl="0">
              <a:lnSpc>
                <a:spcPct val="100000"/>
              </a:lnSpc>
              <a:spcBef>
                <a:spcPts val="0"/>
              </a:spcBef>
              <a:spcAft>
                <a:spcPts val="0"/>
              </a:spcAft>
              <a:buClr>
                <a:srgbClr val="FFFFFF"/>
              </a:buClr>
              <a:buSzPts val="1100"/>
              <a:buNone/>
              <a:defRPr>
                <a:solidFill>
                  <a:srgbClr val="FFFFFF"/>
                </a:solidFill>
              </a:defRPr>
            </a:lvl5pPr>
            <a:lvl6pPr lvl="5" algn="l" rtl="0">
              <a:lnSpc>
                <a:spcPct val="100000"/>
              </a:lnSpc>
              <a:spcBef>
                <a:spcPts val="0"/>
              </a:spcBef>
              <a:spcAft>
                <a:spcPts val="0"/>
              </a:spcAft>
              <a:buClr>
                <a:srgbClr val="FFFFFF"/>
              </a:buClr>
              <a:buSzPts val="1100"/>
              <a:buNone/>
              <a:defRPr>
                <a:solidFill>
                  <a:srgbClr val="FFFFFF"/>
                </a:solidFill>
              </a:defRPr>
            </a:lvl6pPr>
            <a:lvl7pPr lvl="6" algn="l" rtl="0">
              <a:lnSpc>
                <a:spcPct val="100000"/>
              </a:lnSpc>
              <a:spcBef>
                <a:spcPts val="0"/>
              </a:spcBef>
              <a:spcAft>
                <a:spcPts val="0"/>
              </a:spcAft>
              <a:buClr>
                <a:srgbClr val="FFFFFF"/>
              </a:buClr>
              <a:buSzPts val="1100"/>
              <a:buNone/>
              <a:defRPr>
                <a:solidFill>
                  <a:srgbClr val="FFFFFF"/>
                </a:solidFill>
              </a:defRPr>
            </a:lvl7pPr>
            <a:lvl8pPr lvl="7" algn="l" rtl="0">
              <a:lnSpc>
                <a:spcPct val="100000"/>
              </a:lnSpc>
              <a:spcBef>
                <a:spcPts val="0"/>
              </a:spcBef>
              <a:spcAft>
                <a:spcPts val="0"/>
              </a:spcAft>
              <a:buClr>
                <a:srgbClr val="FFFFFF"/>
              </a:buClr>
              <a:buSzPts val="1100"/>
              <a:buNone/>
              <a:defRPr>
                <a:solidFill>
                  <a:srgbClr val="FFFFFF"/>
                </a:solidFill>
              </a:defRPr>
            </a:lvl8pPr>
            <a:lvl9pPr lvl="8" algn="l" rtl="0">
              <a:lnSpc>
                <a:spcPct val="100000"/>
              </a:lnSpc>
              <a:spcBef>
                <a:spcPts val="0"/>
              </a:spcBef>
              <a:spcAft>
                <a:spcPts val="0"/>
              </a:spcAft>
              <a:buClr>
                <a:srgbClr val="FFFFFF"/>
              </a:buClr>
              <a:buSzPts val="1100"/>
              <a:buNone/>
              <a:defRPr>
                <a:solidFill>
                  <a:srgbClr val="FFFFFF"/>
                </a:solidFill>
              </a:defRPr>
            </a:lvl9pPr>
          </a:lstStyle>
          <a:p>
            <a:endParaRPr/>
          </a:p>
        </p:txBody>
      </p:sp>
    </p:spTree>
    <p:extLst>
      <p:ext uri="{BB962C8B-B14F-4D97-AF65-F5344CB8AC3E}">
        <p14:creationId xmlns:p14="http://schemas.microsoft.com/office/powerpoint/2010/main" val="394810616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En blanco" type="blank">
  <p:cSld name="En blanco">
    <p:bg>
      <p:bgPr>
        <a:solidFill>
          <a:srgbClr val="DCEAFB"/>
        </a:solidFill>
        <a:effectLst/>
      </p:bgPr>
    </p:bg>
    <p:spTree>
      <p:nvGrpSpPr>
        <p:cNvPr id="1" name="Shape 92"/>
        <p:cNvGrpSpPr/>
        <p:nvPr/>
      </p:nvGrpSpPr>
      <p:grpSpPr>
        <a:xfrm>
          <a:off x="0" y="0"/>
          <a:ext cx="0" cy="0"/>
          <a:chOff x="0" y="0"/>
          <a:chExt cx="0" cy="0"/>
        </a:xfrm>
      </p:grpSpPr>
      <p:sp>
        <p:nvSpPr>
          <p:cNvPr id="2" name="Google Shape;93;p14"/>
          <p:cNvSpPr txBox="1">
            <a:spLocks noChangeArrowheads="1"/>
          </p:cNvSpPr>
          <p:nvPr/>
        </p:nvSpPr>
        <p:spPr bwMode="auto">
          <a:xfrm>
            <a:off x="2192867" y="6402917"/>
            <a:ext cx="6102351" cy="455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600"/>
            </a:pPr>
            <a:r>
              <a:rPr lang="es-CO" altLang="es-CO" sz="800">
                <a:solidFill>
                  <a:srgbClr val="0054BC"/>
                </a:solidFill>
                <a:latin typeface="Work Sans" panose="00000500000000000000" pitchFamily="2" charset="0"/>
                <a:sym typeface="Work Sans" panose="00000500000000000000" pitchFamily="2" charset="0"/>
              </a:rPr>
              <a:t>Esta presentación es propiedad intelectual controlada y producida por la Presidencia de la República.</a:t>
            </a:r>
          </a:p>
        </p:txBody>
      </p:sp>
      <p:sp>
        <p:nvSpPr>
          <p:cNvPr id="3" name="Google Shape;69;p9"/>
          <p:cNvSpPr txBox="1">
            <a:spLocks noChangeArrowheads="1"/>
          </p:cNvSpPr>
          <p:nvPr userDrawn="1"/>
        </p:nvSpPr>
        <p:spPr bwMode="auto">
          <a:xfrm>
            <a:off x="433917" y="141818"/>
            <a:ext cx="247226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1100"/>
            </a:pPr>
            <a:r>
              <a:rPr lang="es-CO" altLang="es-CO" sz="800">
                <a:solidFill>
                  <a:srgbClr val="0066CD"/>
                </a:solidFill>
                <a:latin typeface="Work Sans Light" charset="0"/>
                <a:sym typeface="Work Sans Light" charset="0"/>
              </a:rPr>
              <a:t>Presidencia de la República de Colombia</a:t>
            </a:r>
          </a:p>
        </p:txBody>
      </p:sp>
    </p:spTree>
    <p:extLst>
      <p:ext uri="{BB962C8B-B14F-4D97-AF65-F5344CB8AC3E}">
        <p14:creationId xmlns:p14="http://schemas.microsoft.com/office/powerpoint/2010/main" val="17410663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Cifras">
  <p:cSld name="Cifras">
    <p:bg>
      <p:bgPr>
        <a:solidFill>
          <a:srgbClr val="DCEAFB"/>
        </a:solidFill>
        <a:effectLst/>
      </p:bgPr>
    </p:bg>
    <p:spTree>
      <p:nvGrpSpPr>
        <p:cNvPr id="1" name="Shape 96"/>
        <p:cNvGrpSpPr/>
        <p:nvPr/>
      </p:nvGrpSpPr>
      <p:grpSpPr>
        <a:xfrm>
          <a:off x="0" y="0"/>
          <a:ext cx="0" cy="0"/>
          <a:chOff x="0" y="0"/>
          <a:chExt cx="0" cy="0"/>
        </a:xfrm>
      </p:grpSpPr>
      <p:sp>
        <p:nvSpPr>
          <p:cNvPr id="9" name="Google Shape;69;p9"/>
          <p:cNvSpPr txBox="1">
            <a:spLocks noChangeArrowheads="1"/>
          </p:cNvSpPr>
          <p:nvPr userDrawn="1"/>
        </p:nvSpPr>
        <p:spPr bwMode="auto">
          <a:xfrm>
            <a:off x="433917" y="141818"/>
            <a:ext cx="2472267" cy="241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3" tIns="45700" rIns="91433" bIns="457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1100"/>
            </a:pPr>
            <a:r>
              <a:rPr lang="es-CO" altLang="es-CO" sz="800">
                <a:solidFill>
                  <a:srgbClr val="0066CD"/>
                </a:solidFill>
                <a:latin typeface="Work Sans Light" charset="0"/>
                <a:sym typeface="Work Sans Light" charset="0"/>
              </a:rPr>
              <a:t>Presidencia de la República de Colombia</a:t>
            </a:r>
          </a:p>
        </p:txBody>
      </p:sp>
      <p:sp>
        <p:nvSpPr>
          <p:cNvPr id="97" name="Google Shape;97;p15"/>
          <p:cNvSpPr txBox="1">
            <a:spLocks noGrp="1"/>
          </p:cNvSpPr>
          <p:nvPr>
            <p:ph type="body" idx="1"/>
          </p:nvPr>
        </p:nvSpPr>
        <p:spPr>
          <a:xfrm>
            <a:off x="8465617" y="2596599"/>
            <a:ext cx="3020000" cy="1664800"/>
          </a:xfrm>
          <a:prstGeom prst="rect">
            <a:avLst/>
          </a:prstGeom>
          <a:noFill/>
          <a:ln>
            <a:noFill/>
          </a:ln>
        </p:spPr>
        <p:txBody>
          <a:bodyPr spcFirstLastPara="1"/>
          <a:lstStyle>
            <a:lvl1pPr marL="609585" lvl="0" indent="-914377" algn="l" rtl="0">
              <a:lnSpc>
                <a:spcPct val="90000"/>
              </a:lnSpc>
              <a:spcBef>
                <a:spcPts val="1067"/>
              </a:spcBef>
              <a:spcAft>
                <a:spcPts val="0"/>
              </a:spcAft>
              <a:buClr>
                <a:srgbClr val="0054BC"/>
              </a:buClr>
              <a:buSzPts val="7200"/>
              <a:buFont typeface="Work Sans"/>
              <a:buChar char="•"/>
              <a:defRPr sz="9600" b="1">
                <a:solidFill>
                  <a:srgbClr val="0054BC"/>
                </a:solidFill>
              </a:defRPr>
            </a:lvl1pPr>
            <a:lvl2pPr marL="1219170" lvl="1" indent="-914377" algn="l" rtl="0">
              <a:lnSpc>
                <a:spcPct val="90000"/>
              </a:lnSpc>
              <a:spcBef>
                <a:spcPts val="533"/>
              </a:spcBef>
              <a:spcAft>
                <a:spcPts val="0"/>
              </a:spcAft>
              <a:buClr>
                <a:srgbClr val="0054BC"/>
              </a:buClr>
              <a:buSzPts val="7200"/>
              <a:buFont typeface="Work Sans"/>
              <a:buChar char="•"/>
              <a:defRPr sz="9600" b="1">
                <a:solidFill>
                  <a:srgbClr val="0054BC"/>
                </a:solidFill>
              </a:defRPr>
            </a:lvl2pPr>
            <a:lvl3pPr marL="1828754" lvl="2" indent="-914377" algn="l" rtl="0">
              <a:lnSpc>
                <a:spcPct val="90000"/>
              </a:lnSpc>
              <a:spcBef>
                <a:spcPts val="533"/>
              </a:spcBef>
              <a:spcAft>
                <a:spcPts val="0"/>
              </a:spcAft>
              <a:buClr>
                <a:srgbClr val="0054BC"/>
              </a:buClr>
              <a:buSzPts val="7200"/>
              <a:buFont typeface="Work Sans"/>
              <a:buChar char="•"/>
              <a:defRPr sz="9600" b="1">
                <a:solidFill>
                  <a:srgbClr val="0054BC"/>
                </a:solidFill>
              </a:defRPr>
            </a:lvl3pPr>
            <a:lvl4pPr marL="2438339" lvl="3" indent="-914377" algn="l" rtl="0">
              <a:lnSpc>
                <a:spcPct val="90000"/>
              </a:lnSpc>
              <a:spcBef>
                <a:spcPts val="533"/>
              </a:spcBef>
              <a:spcAft>
                <a:spcPts val="0"/>
              </a:spcAft>
              <a:buClr>
                <a:srgbClr val="0054BC"/>
              </a:buClr>
              <a:buSzPts val="7200"/>
              <a:buFont typeface="Work Sans"/>
              <a:buChar char="•"/>
              <a:defRPr sz="9600" b="1">
                <a:solidFill>
                  <a:srgbClr val="0054BC"/>
                </a:solidFill>
              </a:defRPr>
            </a:lvl4pPr>
            <a:lvl5pPr marL="3047924" lvl="4" indent="-914377" algn="l" rtl="0">
              <a:lnSpc>
                <a:spcPct val="90000"/>
              </a:lnSpc>
              <a:spcBef>
                <a:spcPts val="533"/>
              </a:spcBef>
              <a:spcAft>
                <a:spcPts val="0"/>
              </a:spcAft>
              <a:buClr>
                <a:srgbClr val="0054BC"/>
              </a:buClr>
              <a:buSzPts val="7200"/>
              <a:buFont typeface="Work Sans"/>
              <a:buChar char="•"/>
              <a:defRPr sz="9600" b="1">
                <a:solidFill>
                  <a:srgbClr val="0054BC"/>
                </a:solidFill>
              </a:defRPr>
            </a:lvl5pPr>
            <a:lvl6pPr marL="3657509" lvl="5" indent="-914377" algn="l" rtl="0">
              <a:lnSpc>
                <a:spcPct val="90000"/>
              </a:lnSpc>
              <a:spcBef>
                <a:spcPts val="533"/>
              </a:spcBef>
              <a:spcAft>
                <a:spcPts val="0"/>
              </a:spcAft>
              <a:buClr>
                <a:srgbClr val="0054BC"/>
              </a:buClr>
              <a:buSzPts val="7200"/>
              <a:buFont typeface="Work Sans"/>
              <a:buChar char="•"/>
              <a:defRPr sz="9600" b="1">
                <a:solidFill>
                  <a:srgbClr val="0054BC"/>
                </a:solidFill>
              </a:defRPr>
            </a:lvl6pPr>
            <a:lvl7pPr marL="4267093" lvl="6" indent="-914377" algn="l" rtl="0">
              <a:lnSpc>
                <a:spcPct val="90000"/>
              </a:lnSpc>
              <a:spcBef>
                <a:spcPts val="533"/>
              </a:spcBef>
              <a:spcAft>
                <a:spcPts val="0"/>
              </a:spcAft>
              <a:buClr>
                <a:srgbClr val="0054BC"/>
              </a:buClr>
              <a:buSzPts val="7200"/>
              <a:buFont typeface="Work Sans"/>
              <a:buChar char="•"/>
              <a:defRPr sz="9600" b="1">
                <a:solidFill>
                  <a:srgbClr val="0054BC"/>
                </a:solidFill>
              </a:defRPr>
            </a:lvl7pPr>
            <a:lvl8pPr marL="4876678" lvl="7" indent="-914377" algn="l" rtl="0">
              <a:lnSpc>
                <a:spcPct val="90000"/>
              </a:lnSpc>
              <a:spcBef>
                <a:spcPts val="533"/>
              </a:spcBef>
              <a:spcAft>
                <a:spcPts val="0"/>
              </a:spcAft>
              <a:buClr>
                <a:srgbClr val="0054BC"/>
              </a:buClr>
              <a:buSzPts val="7200"/>
              <a:buFont typeface="Work Sans"/>
              <a:buChar char="•"/>
              <a:defRPr sz="9600" b="1">
                <a:solidFill>
                  <a:srgbClr val="0054BC"/>
                </a:solidFill>
              </a:defRPr>
            </a:lvl8pPr>
            <a:lvl9pPr marL="5486263" lvl="8" indent="-914377" algn="l" rtl="0">
              <a:lnSpc>
                <a:spcPct val="90000"/>
              </a:lnSpc>
              <a:spcBef>
                <a:spcPts val="533"/>
              </a:spcBef>
              <a:spcAft>
                <a:spcPts val="0"/>
              </a:spcAft>
              <a:buClr>
                <a:srgbClr val="0054BC"/>
              </a:buClr>
              <a:buSzPts val="7200"/>
              <a:buFont typeface="Work Sans"/>
              <a:buChar char="•"/>
              <a:defRPr sz="9600" b="1">
                <a:solidFill>
                  <a:srgbClr val="0054BC"/>
                </a:solidFill>
              </a:defRPr>
            </a:lvl9pPr>
          </a:lstStyle>
          <a:p>
            <a:endParaRPr/>
          </a:p>
        </p:txBody>
      </p:sp>
      <p:sp>
        <p:nvSpPr>
          <p:cNvPr id="98" name="Google Shape;98;p15"/>
          <p:cNvSpPr txBox="1">
            <a:spLocks noGrp="1"/>
          </p:cNvSpPr>
          <p:nvPr>
            <p:ph type="body" idx="2"/>
          </p:nvPr>
        </p:nvSpPr>
        <p:spPr>
          <a:xfrm>
            <a:off x="8778017" y="4345131"/>
            <a:ext cx="2510800" cy="588400"/>
          </a:xfrm>
          <a:prstGeom prst="rect">
            <a:avLst/>
          </a:prstGeom>
          <a:noFill/>
          <a:ln>
            <a:noFill/>
          </a:ln>
        </p:spPr>
        <p:txBody>
          <a:bodyPr spcFirstLastPara="1"/>
          <a:lstStyle>
            <a:lvl1pPr marL="609585" lvl="0" indent="-397923" algn="l" rtl="0">
              <a:lnSpc>
                <a:spcPct val="90000"/>
              </a:lnSpc>
              <a:spcBef>
                <a:spcPts val="1067"/>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1pPr>
            <a:lvl2pPr marL="1219170" lvl="1"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2pPr>
            <a:lvl3pPr marL="1828754" lvl="2"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3pPr>
            <a:lvl4pPr marL="2438339" lvl="3"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4pPr>
            <a:lvl5pPr marL="3047924" lvl="4"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5pPr>
            <a:lvl6pPr marL="3657509" lvl="5"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6pPr>
            <a:lvl7pPr marL="4267093" lvl="6"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7pPr>
            <a:lvl8pPr marL="4876678" lvl="7"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8pPr>
            <a:lvl9pPr marL="5486263" lvl="8"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9pPr>
          </a:lstStyle>
          <a:p>
            <a:endParaRPr/>
          </a:p>
        </p:txBody>
      </p:sp>
      <p:sp>
        <p:nvSpPr>
          <p:cNvPr id="99" name="Google Shape;99;p15"/>
          <p:cNvSpPr txBox="1">
            <a:spLocks noGrp="1"/>
          </p:cNvSpPr>
          <p:nvPr>
            <p:ph type="body" idx="3"/>
          </p:nvPr>
        </p:nvSpPr>
        <p:spPr>
          <a:xfrm>
            <a:off x="1112767" y="2596599"/>
            <a:ext cx="3020000" cy="1664800"/>
          </a:xfrm>
          <a:prstGeom prst="rect">
            <a:avLst/>
          </a:prstGeom>
          <a:noFill/>
          <a:ln>
            <a:noFill/>
          </a:ln>
        </p:spPr>
        <p:txBody>
          <a:bodyPr spcFirstLastPara="1"/>
          <a:lstStyle>
            <a:lvl1pPr marL="609585" lvl="0" indent="-914377" algn="l" rtl="0">
              <a:lnSpc>
                <a:spcPct val="90000"/>
              </a:lnSpc>
              <a:spcBef>
                <a:spcPts val="1067"/>
              </a:spcBef>
              <a:spcAft>
                <a:spcPts val="0"/>
              </a:spcAft>
              <a:buClr>
                <a:srgbClr val="0054BC"/>
              </a:buClr>
              <a:buSzPts val="7200"/>
              <a:buFont typeface="Work Sans"/>
              <a:buChar char="•"/>
              <a:defRPr sz="9600" b="1">
                <a:solidFill>
                  <a:srgbClr val="0054BC"/>
                </a:solidFill>
              </a:defRPr>
            </a:lvl1pPr>
            <a:lvl2pPr marL="1219170" lvl="1" indent="-914377" algn="l" rtl="0">
              <a:lnSpc>
                <a:spcPct val="90000"/>
              </a:lnSpc>
              <a:spcBef>
                <a:spcPts val="533"/>
              </a:spcBef>
              <a:spcAft>
                <a:spcPts val="0"/>
              </a:spcAft>
              <a:buClr>
                <a:srgbClr val="0054BC"/>
              </a:buClr>
              <a:buSzPts val="7200"/>
              <a:buFont typeface="Work Sans"/>
              <a:buChar char="•"/>
              <a:defRPr sz="9600" b="1">
                <a:solidFill>
                  <a:srgbClr val="0054BC"/>
                </a:solidFill>
              </a:defRPr>
            </a:lvl2pPr>
            <a:lvl3pPr marL="1828754" lvl="2" indent="-914377" algn="l" rtl="0">
              <a:lnSpc>
                <a:spcPct val="90000"/>
              </a:lnSpc>
              <a:spcBef>
                <a:spcPts val="533"/>
              </a:spcBef>
              <a:spcAft>
                <a:spcPts val="0"/>
              </a:spcAft>
              <a:buClr>
                <a:srgbClr val="0054BC"/>
              </a:buClr>
              <a:buSzPts val="7200"/>
              <a:buFont typeface="Work Sans"/>
              <a:buChar char="•"/>
              <a:defRPr sz="9600" b="1">
                <a:solidFill>
                  <a:srgbClr val="0054BC"/>
                </a:solidFill>
              </a:defRPr>
            </a:lvl3pPr>
            <a:lvl4pPr marL="2438339" lvl="3" indent="-914377" algn="l" rtl="0">
              <a:lnSpc>
                <a:spcPct val="90000"/>
              </a:lnSpc>
              <a:spcBef>
                <a:spcPts val="533"/>
              </a:spcBef>
              <a:spcAft>
                <a:spcPts val="0"/>
              </a:spcAft>
              <a:buClr>
                <a:srgbClr val="0054BC"/>
              </a:buClr>
              <a:buSzPts val="7200"/>
              <a:buFont typeface="Work Sans"/>
              <a:buChar char="•"/>
              <a:defRPr sz="9600" b="1">
                <a:solidFill>
                  <a:srgbClr val="0054BC"/>
                </a:solidFill>
              </a:defRPr>
            </a:lvl4pPr>
            <a:lvl5pPr marL="3047924" lvl="4" indent="-914377" algn="l" rtl="0">
              <a:lnSpc>
                <a:spcPct val="90000"/>
              </a:lnSpc>
              <a:spcBef>
                <a:spcPts val="533"/>
              </a:spcBef>
              <a:spcAft>
                <a:spcPts val="0"/>
              </a:spcAft>
              <a:buClr>
                <a:srgbClr val="0054BC"/>
              </a:buClr>
              <a:buSzPts val="7200"/>
              <a:buFont typeface="Work Sans"/>
              <a:buChar char="•"/>
              <a:defRPr sz="9600" b="1">
                <a:solidFill>
                  <a:srgbClr val="0054BC"/>
                </a:solidFill>
              </a:defRPr>
            </a:lvl5pPr>
            <a:lvl6pPr marL="3657509" lvl="5" indent="-914377" algn="l" rtl="0">
              <a:lnSpc>
                <a:spcPct val="90000"/>
              </a:lnSpc>
              <a:spcBef>
                <a:spcPts val="533"/>
              </a:spcBef>
              <a:spcAft>
                <a:spcPts val="0"/>
              </a:spcAft>
              <a:buClr>
                <a:srgbClr val="0054BC"/>
              </a:buClr>
              <a:buSzPts val="7200"/>
              <a:buFont typeface="Work Sans"/>
              <a:buChar char="•"/>
              <a:defRPr sz="9600" b="1">
                <a:solidFill>
                  <a:srgbClr val="0054BC"/>
                </a:solidFill>
              </a:defRPr>
            </a:lvl6pPr>
            <a:lvl7pPr marL="4267093" lvl="6" indent="-914377" algn="l" rtl="0">
              <a:lnSpc>
                <a:spcPct val="90000"/>
              </a:lnSpc>
              <a:spcBef>
                <a:spcPts val="533"/>
              </a:spcBef>
              <a:spcAft>
                <a:spcPts val="0"/>
              </a:spcAft>
              <a:buClr>
                <a:srgbClr val="0054BC"/>
              </a:buClr>
              <a:buSzPts val="7200"/>
              <a:buFont typeface="Work Sans"/>
              <a:buChar char="•"/>
              <a:defRPr sz="9600" b="1">
                <a:solidFill>
                  <a:srgbClr val="0054BC"/>
                </a:solidFill>
              </a:defRPr>
            </a:lvl7pPr>
            <a:lvl8pPr marL="4876678" lvl="7" indent="-914377" algn="l" rtl="0">
              <a:lnSpc>
                <a:spcPct val="90000"/>
              </a:lnSpc>
              <a:spcBef>
                <a:spcPts val="533"/>
              </a:spcBef>
              <a:spcAft>
                <a:spcPts val="0"/>
              </a:spcAft>
              <a:buClr>
                <a:srgbClr val="0054BC"/>
              </a:buClr>
              <a:buSzPts val="7200"/>
              <a:buFont typeface="Work Sans"/>
              <a:buChar char="•"/>
              <a:defRPr sz="9600" b="1">
                <a:solidFill>
                  <a:srgbClr val="0054BC"/>
                </a:solidFill>
              </a:defRPr>
            </a:lvl8pPr>
            <a:lvl9pPr marL="5486263" lvl="8" indent="-914377" algn="l" rtl="0">
              <a:lnSpc>
                <a:spcPct val="90000"/>
              </a:lnSpc>
              <a:spcBef>
                <a:spcPts val="533"/>
              </a:spcBef>
              <a:spcAft>
                <a:spcPts val="0"/>
              </a:spcAft>
              <a:buClr>
                <a:srgbClr val="0054BC"/>
              </a:buClr>
              <a:buSzPts val="7200"/>
              <a:buFont typeface="Work Sans"/>
              <a:buChar char="•"/>
              <a:defRPr sz="9600" b="1">
                <a:solidFill>
                  <a:srgbClr val="0054BC"/>
                </a:solidFill>
              </a:defRPr>
            </a:lvl9pPr>
          </a:lstStyle>
          <a:p>
            <a:endParaRPr/>
          </a:p>
        </p:txBody>
      </p:sp>
      <p:sp>
        <p:nvSpPr>
          <p:cNvPr id="100" name="Google Shape;100;p15"/>
          <p:cNvSpPr txBox="1">
            <a:spLocks noGrp="1"/>
          </p:cNvSpPr>
          <p:nvPr>
            <p:ph type="title"/>
          </p:nvPr>
        </p:nvSpPr>
        <p:spPr>
          <a:xfrm>
            <a:off x="825635" y="862667"/>
            <a:ext cx="10463200" cy="858400"/>
          </a:xfrm>
          <a:prstGeom prst="rect">
            <a:avLst/>
          </a:prstGeom>
          <a:noFill/>
          <a:ln>
            <a:noFill/>
          </a:ln>
        </p:spPr>
        <p:txBody>
          <a:bodyPr spcFirstLastPara="1"/>
          <a:lstStyle>
            <a:lvl1pPr lvl="0" algn="l" rtl="0">
              <a:lnSpc>
                <a:spcPct val="90000"/>
              </a:lnSpc>
              <a:spcBef>
                <a:spcPts val="0"/>
              </a:spcBef>
              <a:spcAft>
                <a:spcPts val="0"/>
              </a:spcAft>
              <a:buClr>
                <a:srgbClr val="FFFFFF"/>
              </a:buClr>
              <a:buSzPts val="1400"/>
              <a:buFont typeface="Work Sans SemiBold"/>
              <a:buNone/>
              <a:defRPr sz="4000">
                <a:solidFill>
                  <a:srgbClr val="0066CD"/>
                </a:solidFill>
                <a:latin typeface="Work Sans Light"/>
                <a:ea typeface="Work Sans Light"/>
                <a:cs typeface="Work Sans Light"/>
                <a:sym typeface="Work Sans Light"/>
              </a:defRPr>
            </a:lvl1pPr>
            <a:lvl2pPr lvl="1" algn="l" rtl="0">
              <a:lnSpc>
                <a:spcPct val="100000"/>
              </a:lnSpc>
              <a:spcBef>
                <a:spcPts val="0"/>
              </a:spcBef>
              <a:spcAft>
                <a:spcPts val="0"/>
              </a:spcAft>
              <a:buClr>
                <a:srgbClr val="FFFFFF"/>
              </a:buClr>
              <a:buSzPts val="1100"/>
              <a:buNone/>
              <a:defRPr>
                <a:solidFill>
                  <a:srgbClr val="FFFFFF"/>
                </a:solidFill>
              </a:defRPr>
            </a:lvl2pPr>
            <a:lvl3pPr lvl="2" algn="l" rtl="0">
              <a:lnSpc>
                <a:spcPct val="100000"/>
              </a:lnSpc>
              <a:spcBef>
                <a:spcPts val="0"/>
              </a:spcBef>
              <a:spcAft>
                <a:spcPts val="0"/>
              </a:spcAft>
              <a:buClr>
                <a:srgbClr val="FFFFFF"/>
              </a:buClr>
              <a:buSzPts val="1100"/>
              <a:buNone/>
              <a:defRPr>
                <a:solidFill>
                  <a:srgbClr val="FFFFFF"/>
                </a:solidFill>
              </a:defRPr>
            </a:lvl3pPr>
            <a:lvl4pPr lvl="3" algn="l" rtl="0">
              <a:lnSpc>
                <a:spcPct val="100000"/>
              </a:lnSpc>
              <a:spcBef>
                <a:spcPts val="0"/>
              </a:spcBef>
              <a:spcAft>
                <a:spcPts val="0"/>
              </a:spcAft>
              <a:buClr>
                <a:srgbClr val="FFFFFF"/>
              </a:buClr>
              <a:buSzPts val="1100"/>
              <a:buNone/>
              <a:defRPr>
                <a:solidFill>
                  <a:srgbClr val="FFFFFF"/>
                </a:solidFill>
              </a:defRPr>
            </a:lvl4pPr>
            <a:lvl5pPr lvl="4" algn="l" rtl="0">
              <a:lnSpc>
                <a:spcPct val="100000"/>
              </a:lnSpc>
              <a:spcBef>
                <a:spcPts val="0"/>
              </a:spcBef>
              <a:spcAft>
                <a:spcPts val="0"/>
              </a:spcAft>
              <a:buClr>
                <a:srgbClr val="FFFFFF"/>
              </a:buClr>
              <a:buSzPts val="1100"/>
              <a:buNone/>
              <a:defRPr>
                <a:solidFill>
                  <a:srgbClr val="FFFFFF"/>
                </a:solidFill>
              </a:defRPr>
            </a:lvl5pPr>
            <a:lvl6pPr lvl="5" algn="l" rtl="0">
              <a:lnSpc>
                <a:spcPct val="100000"/>
              </a:lnSpc>
              <a:spcBef>
                <a:spcPts val="0"/>
              </a:spcBef>
              <a:spcAft>
                <a:spcPts val="0"/>
              </a:spcAft>
              <a:buClr>
                <a:srgbClr val="FFFFFF"/>
              </a:buClr>
              <a:buSzPts val="1100"/>
              <a:buNone/>
              <a:defRPr>
                <a:solidFill>
                  <a:srgbClr val="FFFFFF"/>
                </a:solidFill>
              </a:defRPr>
            </a:lvl6pPr>
            <a:lvl7pPr lvl="6" algn="l" rtl="0">
              <a:lnSpc>
                <a:spcPct val="100000"/>
              </a:lnSpc>
              <a:spcBef>
                <a:spcPts val="0"/>
              </a:spcBef>
              <a:spcAft>
                <a:spcPts val="0"/>
              </a:spcAft>
              <a:buClr>
                <a:srgbClr val="FFFFFF"/>
              </a:buClr>
              <a:buSzPts val="1100"/>
              <a:buNone/>
              <a:defRPr>
                <a:solidFill>
                  <a:srgbClr val="FFFFFF"/>
                </a:solidFill>
              </a:defRPr>
            </a:lvl7pPr>
            <a:lvl8pPr lvl="7" algn="l" rtl="0">
              <a:lnSpc>
                <a:spcPct val="100000"/>
              </a:lnSpc>
              <a:spcBef>
                <a:spcPts val="0"/>
              </a:spcBef>
              <a:spcAft>
                <a:spcPts val="0"/>
              </a:spcAft>
              <a:buClr>
                <a:srgbClr val="FFFFFF"/>
              </a:buClr>
              <a:buSzPts val="1100"/>
              <a:buNone/>
              <a:defRPr>
                <a:solidFill>
                  <a:srgbClr val="FFFFFF"/>
                </a:solidFill>
              </a:defRPr>
            </a:lvl8pPr>
            <a:lvl9pPr lvl="8" algn="l" rtl="0">
              <a:lnSpc>
                <a:spcPct val="100000"/>
              </a:lnSpc>
              <a:spcBef>
                <a:spcPts val="0"/>
              </a:spcBef>
              <a:spcAft>
                <a:spcPts val="0"/>
              </a:spcAft>
              <a:buClr>
                <a:srgbClr val="FFFFFF"/>
              </a:buClr>
              <a:buSzPts val="1100"/>
              <a:buNone/>
              <a:defRPr>
                <a:solidFill>
                  <a:srgbClr val="FFFFFF"/>
                </a:solidFill>
              </a:defRPr>
            </a:lvl9pPr>
          </a:lstStyle>
          <a:p>
            <a:endParaRPr/>
          </a:p>
        </p:txBody>
      </p:sp>
      <p:sp>
        <p:nvSpPr>
          <p:cNvPr id="103" name="Google Shape;103;p15"/>
          <p:cNvSpPr txBox="1">
            <a:spLocks noGrp="1"/>
          </p:cNvSpPr>
          <p:nvPr>
            <p:ph type="body" idx="4"/>
          </p:nvPr>
        </p:nvSpPr>
        <p:spPr>
          <a:xfrm>
            <a:off x="4789184" y="2596599"/>
            <a:ext cx="3020000" cy="1664800"/>
          </a:xfrm>
          <a:prstGeom prst="rect">
            <a:avLst/>
          </a:prstGeom>
          <a:noFill/>
          <a:ln>
            <a:noFill/>
          </a:ln>
        </p:spPr>
        <p:txBody>
          <a:bodyPr spcFirstLastPara="1"/>
          <a:lstStyle>
            <a:lvl1pPr marL="609585" lvl="0" indent="-914377" algn="l" rtl="0">
              <a:lnSpc>
                <a:spcPct val="90000"/>
              </a:lnSpc>
              <a:spcBef>
                <a:spcPts val="1067"/>
              </a:spcBef>
              <a:spcAft>
                <a:spcPts val="0"/>
              </a:spcAft>
              <a:buClr>
                <a:srgbClr val="0054BC"/>
              </a:buClr>
              <a:buSzPts val="7200"/>
              <a:buFont typeface="Work Sans"/>
              <a:buChar char="•"/>
              <a:defRPr sz="9600" b="1">
                <a:solidFill>
                  <a:srgbClr val="0054BC"/>
                </a:solidFill>
              </a:defRPr>
            </a:lvl1pPr>
            <a:lvl2pPr marL="1219170" lvl="1" indent="-914377" algn="l" rtl="0">
              <a:lnSpc>
                <a:spcPct val="90000"/>
              </a:lnSpc>
              <a:spcBef>
                <a:spcPts val="533"/>
              </a:spcBef>
              <a:spcAft>
                <a:spcPts val="0"/>
              </a:spcAft>
              <a:buClr>
                <a:srgbClr val="0054BC"/>
              </a:buClr>
              <a:buSzPts val="7200"/>
              <a:buFont typeface="Work Sans"/>
              <a:buChar char="•"/>
              <a:defRPr sz="9600" b="1">
                <a:solidFill>
                  <a:srgbClr val="0054BC"/>
                </a:solidFill>
              </a:defRPr>
            </a:lvl2pPr>
            <a:lvl3pPr marL="1828754" lvl="2" indent="-914377" algn="l" rtl="0">
              <a:lnSpc>
                <a:spcPct val="90000"/>
              </a:lnSpc>
              <a:spcBef>
                <a:spcPts val="533"/>
              </a:spcBef>
              <a:spcAft>
                <a:spcPts val="0"/>
              </a:spcAft>
              <a:buClr>
                <a:srgbClr val="0054BC"/>
              </a:buClr>
              <a:buSzPts val="7200"/>
              <a:buFont typeface="Work Sans"/>
              <a:buChar char="•"/>
              <a:defRPr sz="9600" b="1">
                <a:solidFill>
                  <a:srgbClr val="0054BC"/>
                </a:solidFill>
              </a:defRPr>
            </a:lvl3pPr>
            <a:lvl4pPr marL="2438339" lvl="3" indent="-914377" algn="l" rtl="0">
              <a:lnSpc>
                <a:spcPct val="90000"/>
              </a:lnSpc>
              <a:spcBef>
                <a:spcPts val="533"/>
              </a:spcBef>
              <a:spcAft>
                <a:spcPts val="0"/>
              </a:spcAft>
              <a:buClr>
                <a:srgbClr val="0054BC"/>
              </a:buClr>
              <a:buSzPts val="7200"/>
              <a:buFont typeface="Work Sans"/>
              <a:buChar char="•"/>
              <a:defRPr sz="9600" b="1">
                <a:solidFill>
                  <a:srgbClr val="0054BC"/>
                </a:solidFill>
              </a:defRPr>
            </a:lvl4pPr>
            <a:lvl5pPr marL="3047924" lvl="4" indent="-914377" algn="l" rtl="0">
              <a:lnSpc>
                <a:spcPct val="90000"/>
              </a:lnSpc>
              <a:spcBef>
                <a:spcPts val="533"/>
              </a:spcBef>
              <a:spcAft>
                <a:spcPts val="0"/>
              </a:spcAft>
              <a:buClr>
                <a:srgbClr val="0054BC"/>
              </a:buClr>
              <a:buSzPts val="7200"/>
              <a:buFont typeface="Work Sans"/>
              <a:buChar char="•"/>
              <a:defRPr sz="9600" b="1">
                <a:solidFill>
                  <a:srgbClr val="0054BC"/>
                </a:solidFill>
              </a:defRPr>
            </a:lvl5pPr>
            <a:lvl6pPr marL="3657509" lvl="5" indent="-914377" algn="l" rtl="0">
              <a:lnSpc>
                <a:spcPct val="90000"/>
              </a:lnSpc>
              <a:spcBef>
                <a:spcPts val="533"/>
              </a:spcBef>
              <a:spcAft>
                <a:spcPts val="0"/>
              </a:spcAft>
              <a:buClr>
                <a:srgbClr val="0054BC"/>
              </a:buClr>
              <a:buSzPts val="7200"/>
              <a:buFont typeface="Work Sans"/>
              <a:buChar char="•"/>
              <a:defRPr sz="9600" b="1">
                <a:solidFill>
                  <a:srgbClr val="0054BC"/>
                </a:solidFill>
              </a:defRPr>
            </a:lvl6pPr>
            <a:lvl7pPr marL="4267093" lvl="6" indent="-914377" algn="l" rtl="0">
              <a:lnSpc>
                <a:spcPct val="90000"/>
              </a:lnSpc>
              <a:spcBef>
                <a:spcPts val="533"/>
              </a:spcBef>
              <a:spcAft>
                <a:spcPts val="0"/>
              </a:spcAft>
              <a:buClr>
                <a:srgbClr val="0054BC"/>
              </a:buClr>
              <a:buSzPts val="7200"/>
              <a:buFont typeface="Work Sans"/>
              <a:buChar char="•"/>
              <a:defRPr sz="9600" b="1">
                <a:solidFill>
                  <a:srgbClr val="0054BC"/>
                </a:solidFill>
              </a:defRPr>
            </a:lvl7pPr>
            <a:lvl8pPr marL="4876678" lvl="7" indent="-914377" algn="l" rtl="0">
              <a:lnSpc>
                <a:spcPct val="90000"/>
              </a:lnSpc>
              <a:spcBef>
                <a:spcPts val="533"/>
              </a:spcBef>
              <a:spcAft>
                <a:spcPts val="0"/>
              </a:spcAft>
              <a:buClr>
                <a:srgbClr val="0054BC"/>
              </a:buClr>
              <a:buSzPts val="7200"/>
              <a:buFont typeface="Work Sans"/>
              <a:buChar char="•"/>
              <a:defRPr sz="9600" b="1">
                <a:solidFill>
                  <a:srgbClr val="0054BC"/>
                </a:solidFill>
              </a:defRPr>
            </a:lvl8pPr>
            <a:lvl9pPr marL="5486263" lvl="8" indent="-914377" algn="l" rtl="0">
              <a:lnSpc>
                <a:spcPct val="90000"/>
              </a:lnSpc>
              <a:spcBef>
                <a:spcPts val="533"/>
              </a:spcBef>
              <a:spcAft>
                <a:spcPts val="0"/>
              </a:spcAft>
              <a:buClr>
                <a:srgbClr val="0054BC"/>
              </a:buClr>
              <a:buSzPts val="7200"/>
              <a:buFont typeface="Work Sans"/>
              <a:buChar char="•"/>
              <a:defRPr sz="9600" b="1">
                <a:solidFill>
                  <a:srgbClr val="0054BC"/>
                </a:solidFill>
              </a:defRPr>
            </a:lvl9pPr>
          </a:lstStyle>
          <a:p>
            <a:endParaRPr/>
          </a:p>
        </p:txBody>
      </p:sp>
      <p:sp>
        <p:nvSpPr>
          <p:cNvPr id="104" name="Google Shape;104;p15"/>
          <p:cNvSpPr txBox="1">
            <a:spLocks noGrp="1"/>
          </p:cNvSpPr>
          <p:nvPr>
            <p:ph type="body" idx="5"/>
          </p:nvPr>
        </p:nvSpPr>
        <p:spPr>
          <a:xfrm>
            <a:off x="5043784" y="4345131"/>
            <a:ext cx="2510800" cy="588400"/>
          </a:xfrm>
          <a:prstGeom prst="rect">
            <a:avLst/>
          </a:prstGeom>
          <a:noFill/>
          <a:ln>
            <a:noFill/>
          </a:ln>
        </p:spPr>
        <p:txBody>
          <a:bodyPr spcFirstLastPara="1"/>
          <a:lstStyle>
            <a:lvl1pPr marL="609585" lvl="0" indent="-397923" algn="l" rtl="0">
              <a:lnSpc>
                <a:spcPct val="90000"/>
              </a:lnSpc>
              <a:spcBef>
                <a:spcPts val="1067"/>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1pPr>
            <a:lvl2pPr marL="1219170" lvl="1"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2pPr>
            <a:lvl3pPr marL="1828754" lvl="2"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3pPr>
            <a:lvl4pPr marL="2438339" lvl="3"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4pPr>
            <a:lvl5pPr marL="3047924" lvl="4"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5pPr>
            <a:lvl6pPr marL="3657509" lvl="5"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6pPr>
            <a:lvl7pPr marL="4267093" lvl="6"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7pPr>
            <a:lvl8pPr marL="4876678" lvl="7"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8pPr>
            <a:lvl9pPr marL="5486263" lvl="8"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9pPr>
          </a:lstStyle>
          <a:p>
            <a:endParaRPr/>
          </a:p>
        </p:txBody>
      </p:sp>
      <p:sp>
        <p:nvSpPr>
          <p:cNvPr id="105" name="Google Shape;105;p15"/>
          <p:cNvSpPr txBox="1">
            <a:spLocks noGrp="1"/>
          </p:cNvSpPr>
          <p:nvPr>
            <p:ph type="body" idx="6"/>
          </p:nvPr>
        </p:nvSpPr>
        <p:spPr>
          <a:xfrm>
            <a:off x="1367351" y="4345131"/>
            <a:ext cx="2510800" cy="588400"/>
          </a:xfrm>
          <a:prstGeom prst="rect">
            <a:avLst/>
          </a:prstGeom>
          <a:noFill/>
          <a:ln>
            <a:noFill/>
          </a:ln>
        </p:spPr>
        <p:txBody>
          <a:bodyPr spcFirstLastPara="1"/>
          <a:lstStyle>
            <a:lvl1pPr marL="609585" lvl="0" indent="-397923" algn="l" rtl="0">
              <a:lnSpc>
                <a:spcPct val="90000"/>
              </a:lnSpc>
              <a:spcBef>
                <a:spcPts val="1067"/>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1pPr>
            <a:lvl2pPr marL="1219170" lvl="1"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2pPr>
            <a:lvl3pPr marL="1828754" lvl="2"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3pPr>
            <a:lvl4pPr marL="2438339" lvl="3"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4pPr>
            <a:lvl5pPr marL="3047924" lvl="4"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5pPr>
            <a:lvl6pPr marL="3657509" lvl="5"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6pPr>
            <a:lvl7pPr marL="4267093" lvl="6"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7pPr>
            <a:lvl8pPr marL="4876678" lvl="7"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8pPr>
            <a:lvl9pPr marL="5486263" lvl="8" indent="-397923" algn="l" rtl="0">
              <a:lnSpc>
                <a:spcPct val="90000"/>
              </a:lnSpc>
              <a:spcBef>
                <a:spcPts val="533"/>
              </a:spcBef>
              <a:spcAft>
                <a:spcPts val="0"/>
              </a:spcAft>
              <a:buClr>
                <a:srgbClr val="0054BC"/>
              </a:buClr>
              <a:buSzPts val="1100"/>
              <a:buFont typeface="Work Sans Light"/>
              <a:buChar char="•"/>
              <a:defRPr sz="1467">
                <a:solidFill>
                  <a:srgbClr val="0054BC"/>
                </a:solidFill>
                <a:latin typeface="Work Sans Light"/>
                <a:ea typeface="Work Sans Light"/>
                <a:cs typeface="Work Sans Light"/>
                <a:sym typeface="Work Sans Light"/>
              </a:defRPr>
            </a:lvl9pPr>
          </a:lstStyle>
          <a:p>
            <a:endParaRPr/>
          </a:p>
        </p:txBody>
      </p:sp>
    </p:spTree>
    <p:extLst>
      <p:ext uri="{BB962C8B-B14F-4D97-AF65-F5344CB8AC3E}">
        <p14:creationId xmlns:p14="http://schemas.microsoft.com/office/powerpoint/2010/main" val="24307885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bg>
      <p:bgPr>
        <a:solidFill>
          <a:srgbClr val="2D6DF3"/>
        </a:solidFill>
        <a:effectLst/>
      </p:bgPr>
    </p:bg>
    <p:spTree>
      <p:nvGrpSpPr>
        <p:cNvPr id="1" name="Shape 11"/>
        <p:cNvGrpSpPr/>
        <p:nvPr/>
      </p:nvGrpSpPr>
      <p:grpSpPr>
        <a:xfrm>
          <a:off x="0" y="0"/>
          <a:ext cx="0" cy="0"/>
          <a:chOff x="0" y="0"/>
          <a:chExt cx="0" cy="0"/>
        </a:xfrm>
      </p:grpSpPr>
      <p:sp>
        <p:nvSpPr>
          <p:cNvPr id="2" name="Google Shape;12;p2"/>
          <p:cNvSpPr txBox="1">
            <a:spLocks noChangeArrowheads="1"/>
          </p:cNvSpPr>
          <p:nvPr/>
        </p:nvSpPr>
        <p:spPr bwMode="auto">
          <a:xfrm>
            <a:off x="11114618" y="71967"/>
            <a:ext cx="732367" cy="52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pPr>
            <a:fld id="{F80730C0-EFD4-45B2-A818-7059373918F9}" type="slidenum">
              <a:rPr lang="es-CO" altLang="es-CO" sz="933">
                <a:solidFill>
                  <a:srgbClr val="0054BC"/>
                </a:solidFill>
                <a:latin typeface="Work Sans" panose="00000500000000000000" pitchFamily="2" charset="0"/>
                <a:sym typeface="Work Sans" panose="00000500000000000000" pitchFamily="2" charset="0"/>
              </a:rPr>
              <a:pPr algn="r" eaLnBrk="1" hangingPunct="1">
                <a:buSzPts val="700"/>
              </a:pPr>
              <a:t>‹Nº›</a:t>
            </a:fld>
            <a:endParaRPr lang="es-CO" altLang="es-CO" sz="933">
              <a:solidFill>
                <a:srgbClr val="0054BC"/>
              </a:solidFill>
              <a:latin typeface="Work Sans" panose="00000500000000000000" pitchFamily="2" charset="0"/>
              <a:sym typeface="Work Sans" panose="00000500000000000000" pitchFamily="2" charset="0"/>
            </a:endParaRPr>
          </a:p>
        </p:txBody>
      </p:sp>
      <p:sp>
        <p:nvSpPr>
          <p:cNvPr id="3" name="Google Shape;13;p2"/>
          <p:cNvSpPr txBox="1">
            <a:spLocks noChangeArrowheads="1"/>
          </p:cNvSpPr>
          <p:nvPr/>
        </p:nvSpPr>
        <p:spPr bwMode="auto">
          <a:xfrm>
            <a:off x="11114618" y="-29633"/>
            <a:ext cx="732367" cy="5249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r" eaLnBrk="1" hangingPunct="1">
              <a:buSzPts val="700"/>
            </a:pPr>
            <a:fld id="{08D0BDF6-0EE0-4013-92E4-A51F583E1C3D}" type="slidenum">
              <a:rPr lang="es-CO" altLang="es-CO" sz="933">
                <a:solidFill>
                  <a:srgbClr val="FFFFFF"/>
                </a:solidFill>
                <a:latin typeface="Work Sans" panose="00000500000000000000" pitchFamily="2" charset="0"/>
                <a:sym typeface="Work Sans" panose="00000500000000000000" pitchFamily="2" charset="0"/>
              </a:rPr>
              <a:pPr algn="r" eaLnBrk="1" hangingPunct="1">
                <a:buSzPts val="700"/>
              </a:pPr>
              <a:t>‹Nº›</a:t>
            </a:fld>
            <a:endParaRPr lang="es-CO" altLang="es-CO" sz="933">
              <a:solidFill>
                <a:srgbClr val="FFFFFF"/>
              </a:solidFill>
              <a:latin typeface="Work Sans" panose="00000500000000000000" pitchFamily="2" charset="0"/>
              <a:sym typeface="Work Sans" panose="00000500000000000000" pitchFamily="2" charset="0"/>
            </a:endParaRPr>
          </a:p>
        </p:txBody>
      </p:sp>
      <p:sp>
        <p:nvSpPr>
          <p:cNvPr id="4" name="Google Shape;14;p2"/>
          <p:cNvSpPr>
            <a:spLocks noChangeArrowheads="1"/>
          </p:cNvSpPr>
          <p:nvPr/>
        </p:nvSpPr>
        <p:spPr bwMode="auto">
          <a:xfrm>
            <a:off x="8644467" y="0"/>
            <a:ext cx="3553884" cy="68580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121900" tIns="60933" rIns="121900" bIns="60933" anchor="ctr"/>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algn="ctr" eaLnBrk="1" hangingPunct="1"/>
            <a:endParaRPr lang="es-CO" altLang="es-CO" sz="1867">
              <a:solidFill>
                <a:srgbClr val="FFFFFF"/>
              </a:solidFill>
            </a:endParaRPr>
          </a:p>
        </p:txBody>
      </p:sp>
      <p:sp>
        <p:nvSpPr>
          <p:cNvPr id="5" name="Google Shape;15;p2"/>
          <p:cNvSpPr txBox="1">
            <a:spLocks noChangeArrowheads="1"/>
          </p:cNvSpPr>
          <p:nvPr/>
        </p:nvSpPr>
        <p:spPr bwMode="auto">
          <a:xfrm>
            <a:off x="1464733" y="6474884"/>
            <a:ext cx="5723467" cy="455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21900" tIns="121900" rIns="121900" bIns="121900"/>
          <a:lstStyle>
            <a:lvl1pPr>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1pPr>
            <a:lvl2pPr marL="742950" indent="-28575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2pPr>
            <a:lvl3pPr marL="11430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3pPr>
            <a:lvl4pPr marL="16002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4pPr>
            <a:lvl5pPr marL="2057400" indent="-228600">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5pPr>
            <a:lvl6pPr marL="25146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6pPr>
            <a:lvl7pPr marL="29718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7pPr>
            <a:lvl8pPr marL="34290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8pPr>
            <a:lvl9pPr marL="3886200" indent="-228600" eaLnBrk="0" fontAlgn="base" hangingPunct="0">
              <a:spcBef>
                <a:spcPct val="0"/>
              </a:spcBef>
              <a:spcAft>
                <a:spcPct val="0"/>
              </a:spcAft>
              <a:buClr>
                <a:srgbClr val="000000"/>
              </a:buClr>
              <a:buFont typeface="Arial" panose="020B0604020202020204" pitchFamily="34" charset="0"/>
              <a:defRPr sz="1400">
                <a:solidFill>
                  <a:srgbClr val="000000"/>
                </a:solidFill>
                <a:latin typeface="Arial" panose="020B0604020202020204" pitchFamily="34" charset="0"/>
                <a:cs typeface="Arial" panose="020B0604020202020204" pitchFamily="34" charset="0"/>
                <a:sym typeface="Arial" panose="020B0604020202020204" pitchFamily="34" charset="0"/>
              </a:defRPr>
            </a:lvl9pPr>
          </a:lstStyle>
          <a:p>
            <a:pPr eaLnBrk="1" hangingPunct="1">
              <a:buSzPts val="600"/>
            </a:pPr>
            <a:r>
              <a:rPr lang="es-CO" altLang="es-CO" sz="800">
                <a:solidFill>
                  <a:srgbClr val="FFFFFF"/>
                </a:solidFill>
                <a:latin typeface="Work Sans" panose="00000500000000000000" pitchFamily="2" charset="0"/>
                <a:sym typeface="Work Sans" panose="00000500000000000000" pitchFamily="2" charset="0"/>
              </a:rPr>
              <a:t>Esta presentación es propiedad intelectual controlada y producida por la Presidencia de la República.</a:t>
            </a:r>
          </a:p>
        </p:txBody>
      </p:sp>
      <p:pic>
        <p:nvPicPr>
          <p:cNvPr id="6" name="Imagen 14"/>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5376334" y="2978151"/>
            <a:ext cx="5583767" cy="109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98159445"/>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slideLayout" Target="../slideLayouts/slideLayout6.xml"/><Relationship Id="rId1" Type="http://schemas.openxmlformats.org/officeDocument/2006/relationships/slideLayout" Target="../slideLayouts/slideLayout5.xml"/><Relationship Id="rId5" Type="http://schemas.openxmlformats.org/officeDocument/2006/relationships/theme" Target="../theme/theme2.xml"/><Relationship Id="rId4"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838200" y="365125"/>
            <a:ext cx="10515600" cy="1326000"/>
          </a:xfrm>
          <a:prstGeom prst="rect">
            <a:avLst/>
          </a:prstGeom>
          <a:noFill/>
          <a:ln>
            <a:noFill/>
          </a:ln>
        </p:spPr>
        <p:txBody>
          <a:bodyPr spcFirstLastPara="1" wrap="square" lIns="68575" tIns="34275" rIns="68575" bIns="34275" anchor="ctr" anchorCtr="0"/>
          <a:lstStyle>
            <a:lvl1pPr marR="0" lvl="0" algn="l" rtl="0">
              <a:lnSpc>
                <a:spcPct val="90000"/>
              </a:lnSpc>
              <a:spcBef>
                <a:spcPts val="0"/>
              </a:spcBef>
              <a:spcAft>
                <a:spcPts val="0"/>
              </a:spcAft>
              <a:buClr>
                <a:srgbClr val="0054BC"/>
              </a:buClr>
              <a:buSzPts val="3300"/>
              <a:buFont typeface="Work Sans"/>
              <a:buNone/>
              <a:defRPr sz="3300" b="0" i="0" u="none" strike="noStrike" cap="none">
                <a:solidFill>
                  <a:srgbClr val="0054BC"/>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100"/>
              <a:buFont typeface="Arial"/>
              <a:buNone/>
              <a:defRPr sz="1400" b="0" i="0" u="none" strike="noStrike" cap="none">
                <a:solidFill>
                  <a:srgbClr val="000000"/>
                </a:solidFill>
                <a:latin typeface="Arial"/>
                <a:ea typeface="Arial"/>
                <a:cs typeface="Arial"/>
                <a:sym typeface="Arial"/>
              </a:defRPr>
            </a:lvl9pPr>
          </a:lstStyle>
          <a:p>
            <a:endParaRPr/>
          </a:p>
        </p:txBody>
      </p:sp>
      <p:sp>
        <p:nvSpPr>
          <p:cNvPr id="7" name="Google Shape;7;p1"/>
          <p:cNvSpPr txBox="1">
            <a:spLocks noGrp="1"/>
          </p:cNvSpPr>
          <p:nvPr>
            <p:ph type="body" idx="1"/>
          </p:nvPr>
        </p:nvSpPr>
        <p:spPr>
          <a:xfrm>
            <a:off x="838200" y="1825625"/>
            <a:ext cx="10515600" cy="4351200"/>
          </a:xfrm>
          <a:prstGeom prst="rect">
            <a:avLst/>
          </a:prstGeom>
          <a:noFill/>
          <a:ln>
            <a:noFill/>
          </a:ln>
        </p:spPr>
        <p:txBody>
          <a:bodyPr spcFirstLastPara="1" wrap="square" lIns="68575" tIns="34275" rIns="68575" bIns="34275" anchor="t" anchorCtr="0"/>
          <a:lstStyle>
            <a:lvl1pPr marL="457200" marR="0" lvl="0" indent="-361950" algn="l" rtl="0">
              <a:lnSpc>
                <a:spcPct val="90000"/>
              </a:lnSpc>
              <a:spcBef>
                <a:spcPts val="800"/>
              </a:spcBef>
              <a:spcAft>
                <a:spcPts val="0"/>
              </a:spcAft>
              <a:buClr>
                <a:srgbClr val="0054BC"/>
              </a:buClr>
              <a:buSzPts val="2100"/>
              <a:buFont typeface="Arial"/>
              <a:buChar char="•"/>
              <a:defRPr sz="2100" b="0" i="0" u="none" strike="noStrike" cap="none">
                <a:solidFill>
                  <a:srgbClr val="0054BC"/>
                </a:solidFill>
                <a:latin typeface="Work Sans"/>
                <a:ea typeface="Work Sans"/>
                <a:cs typeface="Work Sans"/>
                <a:sym typeface="Work Sans"/>
              </a:defRPr>
            </a:lvl1pPr>
            <a:lvl2pPr marL="914400" marR="0" lvl="1" indent="-342900" algn="l" rtl="0">
              <a:lnSpc>
                <a:spcPct val="90000"/>
              </a:lnSpc>
              <a:spcBef>
                <a:spcPts val="400"/>
              </a:spcBef>
              <a:spcAft>
                <a:spcPts val="0"/>
              </a:spcAft>
              <a:buClr>
                <a:srgbClr val="0054BC"/>
              </a:buClr>
              <a:buSzPts val="1800"/>
              <a:buFont typeface="Arial"/>
              <a:buChar char="•"/>
              <a:defRPr sz="1800" b="0" i="0" u="none" strike="noStrike" cap="none">
                <a:solidFill>
                  <a:srgbClr val="0054BC"/>
                </a:solidFill>
                <a:latin typeface="Work Sans"/>
                <a:ea typeface="Work Sans"/>
                <a:cs typeface="Work Sans"/>
                <a:sym typeface="Work Sans"/>
              </a:defRPr>
            </a:lvl2pPr>
            <a:lvl3pPr marL="1371600" marR="0" lvl="2" indent="-323850" algn="l" rtl="0">
              <a:lnSpc>
                <a:spcPct val="90000"/>
              </a:lnSpc>
              <a:spcBef>
                <a:spcPts val="400"/>
              </a:spcBef>
              <a:spcAft>
                <a:spcPts val="0"/>
              </a:spcAft>
              <a:buClr>
                <a:srgbClr val="0054BC"/>
              </a:buClr>
              <a:buSzPts val="1500"/>
              <a:buFont typeface="Arial"/>
              <a:buChar char="•"/>
              <a:defRPr sz="1500" b="0" i="0" u="none" strike="noStrike" cap="none">
                <a:solidFill>
                  <a:srgbClr val="0054BC"/>
                </a:solidFill>
                <a:latin typeface="Work Sans"/>
                <a:ea typeface="Work Sans"/>
                <a:cs typeface="Work Sans"/>
                <a:sym typeface="Work Sans"/>
              </a:defRPr>
            </a:lvl3pPr>
            <a:lvl4pPr marL="1828800" marR="0" lvl="3"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4pPr>
            <a:lvl5pPr marL="2286000" marR="0" lvl="4"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5pPr>
            <a:lvl6pPr marL="2743200" marR="0" lvl="5"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6pPr>
            <a:lvl7pPr marL="3200400" marR="0" lvl="6"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7pPr>
            <a:lvl8pPr marL="3657600" marR="0" lvl="7"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8pPr>
            <a:lvl9pPr marL="4114800" marR="0" lvl="8" indent="-317500" algn="l" rtl="0">
              <a:lnSpc>
                <a:spcPct val="90000"/>
              </a:lnSpc>
              <a:spcBef>
                <a:spcPts val="400"/>
              </a:spcBef>
              <a:spcAft>
                <a:spcPts val="0"/>
              </a:spcAft>
              <a:buClr>
                <a:srgbClr val="0054BC"/>
              </a:buClr>
              <a:buSzPts val="1400"/>
              <a:buFont typeface="Arial"/>
              <a:buChar char="•"/>
              <a:defRPr sz="1400" b="0" i="0" u="none" strike="noStrike" cap="none">
                <a:solidFill>
                  <a:srgbClr val="0054BC"/>
                </a:solidFill>
                <a:latin typeface="Work Sans"/>
                <a:ea typeface="Work Sans"/>
                <a:cs typeface="Work Sans"/>
                <a:sym typeface="Work Sans"/>
              </a:defRPr>
            </a:lvl9pPr>
          </a:lstStyle>
          <a:p>
            <a:endParaRPr/>
          </a:p>
        </p:txBody>
      </p:sp>
      <p:sp>
        <p:nvSpPr>
          <p:cNvPr id="8" name="Google Shape;8;p1"/>
          <p:cNvSpPr txBox="1">
            <a:spLocks noGrp="1"/>
          </p:cNvSpPr>
          <p:nvPr>
            <p:ph type="dt" idx="10"/>
          </p:nvPr>
        </p:nvSpPr>
        <p:spPr>
          <a:xfrm>
            <a:off x="838200" y="6356351"/>
            <a:ext cx="2743200" cy="365200"/>
          </a:xfrm>
          <a:prstGeom prst="rect">
            <a:avLst/>
          </a:prstGeom>
          <a:noFill/>
          <a:ln>
            <a:noFill/>
          </a:ln>
        </p:spPr>
        <p:txBody>
          <a:bodyPr spcFirstLastPara="1" wrap="square" lIns="68575" tIns="34275" rIns="68575" bIns="34275" anchor="ctr" anchorCtr="0"/>
          <a:lstStyle>
            <a:lvl1pPr marR="0" lvl="0" algn="l" rtl="0">
              <a:lnSpc>
                <a:spcPct val="100000"/>
              </a:lnSpc>
              <a:spcBef>
                <a:spcPts val="0"/>
              </a:spcBef>
              <a:spcAft>
                <a:spcPts val="0"/>
              </a:spcAft>
              <a:buClr>
                <a:srgbClr val="000000"/>
              </a:buClr>
              <a:buSzPts val="1100"/>
              <a:buFont typeface="Arial"/>
              <a:buNone/>
              <a:defRPr sz="1200" b="0" i="0" u="none" strike="noStrike" cap="none">
                <a:solidFill>
                  <a:srgbClr val="888E9D"/>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9pPr>
          </a:lstStyle>
          <a:p>
            <a:endParaRPr/>
          </a:p>
        </p:txBody>
      </p:sp>
      <p:sp>
        <p:nvSpPr>
          <p:cNvPr id="9" name="Google Shape;9;p1"/>
          <p:cNvSpPr txBox="1">
            <a:spLocks noGrp="1"/>
          </p:cNvSpPr>
          <p:nvPr>
            <p:ph type="ftr" idx="11"/>
          </p:nvPr>
        </p:nvSpPr>
        <p:spPr>
          <a:xfrm>
            <a:off x="4038600" y="6356351"/>
            <a:ext cx="4114800" cy="365200"/>
          </a:xfrm>
          <a:prstGeom prst="rect">
            <a:avLst/>
          </a:prstGeom>
          <a:noFill/>
          <a:ln>
            <a:noFill/>
          </a:ln>
        </p:spPr>
        <p:txBody>
          <a:bodyPr spcFirstLastPara="1" wrap="square" lIns="68575" tIns="34275" rIns="68575" bIns="34275" anchor="ctr" anchorCtr="0"/>
          <a:lstStyle>
            <a:lvl1pPr marR="0" lvl="0" algn="ctr" rtl="0">
              <a:lnSpc>
                <a:spcPct val="100000"/>
              </a:lnSpc>
              <a:spcBef>
                <a:spcPts val="0"/>
              </a:spcBef>
              <a:spcAft>
                <a:spcPts val="0"/>
              </a:spcAft>
              <a:buClr>
                <a:srgbClr val="000000"/>
              </a:buClr>
              <a:buSzPts val="1100"/>
              <a:buFont typeface="Arial"/>
              <a:buNone/>
              <a:defRPr sz="1200" b="0" i="0" u="none" strike="noStrike" cap="none">
                <a:solidFill>
                  <a:srgbClr val="888E9D"/>
                </a:solidFill>
                <a:latin typeface="Work Sans"/>
                <a:ea typeface="Work Sans"/>
                <a:cs typeface="Work Sans"/>
                <a:sym typeface="Work Sans"/>
              </a:defRPr>
            </a:lvl1pPr>
            <a:lvl2pPr marR="0" lvl="1"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2pPr>
            <a:lvl3pPr marR="0" lvl="2"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3pPr>
            <a:lvl4pPr marR="0" lvl="3"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4pPr>
            <a:lvl5pPr marR="0" lvl="4"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5pPr>
            <a:lvl6pPr marR="0" lvl="5"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6pPr>
            <a:lvl7pPr marR="0" lvl="6"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7pPr>
            <a:lvl8pPr marR="0" lvl="7"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8pPr>
            <a:lvl9pPr marR="0" lvl="8" algn="l" rtl="0">
              <a:lnSpc>
                <a:spcPct val="100000"/>
              </a:lnSpc>
              <a:spcBef>
                <a:spcPts val="0"/>
              </a:spcBef>
              <a:spcAft>
                <a:spcPts val="0"/>
              </a:spcAft>
              <a:buClr>
                <a:srgbClr val="000000"/>
              </a:buClr>
              <a:buSzPts val="1100"/>
              <a:buFont typeface="Arial"/>
              <a:buNone/>
              <a:defRPr sz="1867" b="0" i="0" u="none" strike="noStrike" cap="none">
                <a:solidFill>
                  <a:schemeClr val="dk1"/>
                </a:solidFill>
                <a:latin typeface="Work Sans"/>
                <a:ea typeface="Work Sans"/>
                <a:cs typeface="Work Sans"/>
                <a:sym typeface="Work Sans"/>
              </a:defRPr>
            </a:lvl9pPr>
          </a:lstStyle>
          <a:p>
            <a:endParaRPr/>
          </a:p>
        </p:txBody>
      </p:sp>
      <p:sp>
        <p:nvSpPr>
          <p:cNvPr id="10" name="Google Shape;10;p1"/>
          <p:cNvSpPr txBox="1">
            <a:spLocks noGrp="1"/>
          </p:cNvSpPr>
          <p:nvPr>
            <p:ph type="sldNum" idx="12"/>
          </p:nvPr>
        </p:nvSpPr>
        <p:spPr>
          <a:xfrm>
            <a:off x="8610600" y="6356351"/>
            <a:ext cx="2743200" cy="365200"/>
          </a:xfrm>
          <a:prstGeom prst="rect">
            <a:avLst/>
          </a:prstGeom>
          <a:noFill/>
          <a:ln>
            <a:noFill/>
          </a:ln>
        </p:spPr>
        <p:txBody>
          <a:bodyPr spcFirstLastPara="1" wrap="square" lIns="68575" tIns="34275" rIns="68575" bIns="34275" anchor="ctr" anchorCtr="0">
            <a:noAutofit/>
          </a:bodyPr>
          <a:lstStyle>
            <a:lvl1pPr marL="0" marR="0" lvl="0"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1pPr>
            <a:lvl2pPr marL="0" marR="0" lvl="1"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2pPr>
            <a:lvl3pPr marL="0" marR="0" lvl="2"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3pPr>
            <a:lvl4pPr marL="0" marR="0" lvl="3"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4pPr>
            <a:lvl5pPr marL="0" marR="0" lvl="4"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5pPr>
            <a:lvl6pPr marL="0" marR="0" lvl="5"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6pPr>
            <a:lvl7pPr marL="0" marR="0" lvl="6"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7pPr>
            <a:lvl8pPr marL="0" marR="0" lvl="7"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8pPr>
            <a:lvl9pPr marL="0" marR="0" lvl="8" indent="0" algn="r" rtl="0">
              <a:lnSpc>
                <a:spcPct val="100000"/>
              </a:lnSpc>
              <a:spcBef>
                <a:spcPts val="0"/>
              </a:spcBef>
              <a:spcAft>
                <a:spcPts val="0"/>
              </a:spcAft>
              <a:buClr>
                <a:srgbClr val="000000"/>
              </a:buClr>
              <a:buSzPts val="900"/>
              <a:buFont typeface="Arial"/>
              <a:buNone/>
              <a:defRPr sz="1200" b="0" i="0" u="none" strike="noStrike" cap="none">
                <a:solidFill>
                  <a:srgbClr val="888E9D"/>
                </a:solidFill>
                <a:latin typeface="Work Sans"/>
                <a:ea typeface="Work Sans"/>
                <a:cs typeface="Work Sans"/>
                <a:sym typeface="Work Sans"/>
              </a:defRPr>
            </a:lvl9pPr>
          </a:lstStyle>
          <a:p>
            <a:fld id="{00000000-1234-1234-1234-123412341234}" type="slidenum">
              <a:rPr lang="es-CO" smtClean="0"/>
              <a:pPr/>
              <a:t>‹Nº›</a:t>
            </a:fld>
            <a:endParaRPr lang="es-CO"/>
          </a:p>
        </p:txBody>
      </p:sp>
    </p:spTree>
    <p:extLst>
      <p:ext uri="{BB962C8B-B14F-4D97-AF65-F5344CB8AC3E}">
        <p14:creationId xmlns:p14="http://schemas.microsoft.com/office/powerpoint/2010/main" val="539914509"/>
      </p:ext>
    </p:extLst>
  </p:cSld>
  <p:clrMap bg1="lt1" tx1="dk1" bg2="dk2" tx2="lt2" accent1="accent1" accent2="accent2" accent3="accent3" accent4="accent4" accent5="accent5" accent6="accent6" hlink="hlink" folHlink="folHlink"/>
  <p:sldLayoutIdLst>
    <p:sldLayoutId id="2147483661" r:id="rId1"/>
    <p:sldLayoutId id="2147483662" r:id="rId2"/>
    <p:sldLayoutId id="2147483663" r:id="rId3"/>
    <p:sldLayoutId id="2147483670" r:id="rId4"/>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Google Shape;6;p1"/>
          <p:cNvSpPr txBox="1">
            <a:spLocks noGrp="1"/>
          </p:cNvSpPr>
          <p:nvPr>
            <p:ph type="title"/>
          </p:nvPr>
        </p:nvSpPr>
        <p:spPr bwMode="auto">
          <a:xfrm>
            <a:off x="838200" y="366185"/>
            <a:ext cx="10515600" cy="132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p>
            <a:pPr lvl="0"/>
            <a:endParaRPr lang="es-CO" altLang="es-CO">
              <a:sym typeface="Arial" panose="020B0604020202020204" pitchFamily="34" charset="0"/>
            </a:endParaRPr>
          </a:p>
        </p:txBody>
      </p:sp>
      <p:sp>
        <p:nvSpPr>
          <p:cNvPr id="1027" name="Google Shape;7;p1"/>
          <p:cNvSpPr txBox="1">
            <a:spLocks noGrp="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t" anchorCtr="0" compatLnSpc="1">
            <a:prstTxWarp prst="textNoShape">
              <a:avLst/>
            </a:prstTxWarp>
          </a:bodyPr>
          <a:lstStyle/>
          <a:p>
            <a:pPr lvl="0"/>
            <a:endParaRPr lang="es-CO" altLang="es-CO">
              <a:sym typeface="Arial" panose="020B0604020202020204" pitchFamily="34" charset="0"/>
            </a:endParaRPr>
          </a:p>
        </p:txBody>
      </p:sp>
      <p:sp>
        <p:nvSpPr>
          <p:cNvPr id="1028" name="Google Shape;8;p1"/>
          <p:cNvSpPr txBox="1">
            <a:spLocks noGrp="1"/>
          </p:cNvSpPr>
          <p:nvPr>
            <p:ph type="dt" idx="10"/>
          </p:nvPr>
        </p:nvSpPr>
        <p:spPr bwMode="auto">
          <a:xfrm>
            <a:off x="838200" y="6356351"/>
            <a:ext cx="2743200" cy="36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lvl1pPr eaLnBrk="1" hangingPunct="1">
              <a:buClr>
                <a:srgbClr val="000000"/>
              </a:buClr>
              <a:buSzPts val="1100"/>
              <a:buFont typeface="Arial" panose="020B0604020202020204" pitchFamily="34" charset="0"/>
              <a:buNone/>
              <a:defRPr sz="1200">
                <a:solidFill>
                  <a:srgbClr val="888E9D"/>
                </a:solidFill>
                <a:latin typeface="Work Sans" panose="00000500000000000000" pitchFamily="2" charset="0"/>
                <a:sym typeface="Work Sans" panose="00000500000000000000" pitchFamily="2" charset="0"/>
              </a:defRPr>
            </a:lvl1pPr>
          </a:lstStyle>
          <a:p>
            <a:endParaRPr lang="es-CO" altLang="es-CO"/>
          </a:p>
        </p:txBody>
      </p:sp>
      <p:sp>
        <p:nvSpPr>
          <p:cNvPr id="1029" name="Google Shape;9;p1"/>
          <p:cNvSpPr txBox="1">
            <a:spLocks noGrp="1"/>
          </p:cNvSpPr>
          <p:nvPr>
            <p:ph type="ftr" idx="11"/>
          </p:nvPr>
        </p:nvSpPr>
        <p:spPr bwMode="auto">
          <a:xfrm>
            <a:off x="4038600" y="6356351"/>
            <a:ext cx="4114800" cy="36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lvl1pPr algn="ctr" eaLnBrk="1" hangingPunct="1">
              <a:buClr>
                <a:srgbClr val="000000"/>
              </a:buClr>
              <a:buSzPts val="1100"/>
              <a:buFont typeface="Arial" panose="020B0604020202020204" pitchFamily="34" charset="0"/>
              <a:buNone/>
              <a:defRPr sz="1200">
                <a:solidFill>
                  <a:srgbClr val="888E9D"/>
                </a:solidFill>
                <a:latin typeface="Work Sans" panose="00000500000000000000" pitchFamily="2" charset="0"/>
                <a:sym typeface="Work Sans" panose="00000500000000000000" pitchFamily="2" charset="0"/>
              </a:defRPr>
            </a:lvl1pPr>
          </a:lstStyle>
          <a:p>
            <a:endParaRPr lang="es-CO" altLang="es-CO"/>
          </a:p>
        </p:txBody>
      </p:sp>
      <p:sp>
        <p:nvSpPr>
          <p:cNvPr id="1030" name="Google Shape;10;p1"/>
          <p:cNvSpPr txBox="1">
            <a:spLocks noGrp="1"/>
          </p:cNvSpPr>
          <p:nvPr>
            <p:ph type="sldNum" idx="12"/>
          </p:nvPr>
        </p:nvSpPr>
        <p:spPr bwMode="auto">
          <a:xfrm>
            <a:off x="8610600" y="6356351"/>
            <a:ext cx="2743200" cy="366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75" tIns="34275" rIns="68575" bIns="34275" numCol="1" anchor="ctr" anchorCtr="0" compatLnSpc="1">
            <a:prstTxWarp prst="textNoShape">
              <a:avLst/>
            </a:prstTxWarp>
          </a:bodyPr>
          <a:lstStyle>
            <a:lvl1pPr algn="r" eaLnBrk="1" hangingPunct="1">
              <a:buClr>
                <a:srgbClr val="000000"/>
              </a:buClr>
              <a:buSzPts val="900"/>
              <a:buFont typeface="Arial" panose="020B0604020202020204" pitchFamily="34" charset="0"/>
              <a:buNone/>
              <a:defRPr sz="1200">
                <a:solidFill>
                  <a:srgbClr val="888E9D"/>
                </a:solidFill>
                <a:latin typeface="Work Sans" panose="00000500000000000000" pitchFamily="2" charset="0"/>
                <a:sym typeface="Work Sans" panose="00000500000000000000" pitchFamily="2" charset="0"/>
              </a:defRPr>
            </a:lvl1pPr>
          </a:lstStyle>
          <a:p>
            <a:fld id="{E3890558-2059-4593-BD0A-37738B931649}" type="slidenum">
              <a:rPr lang="es-CO" altLang="es-CO"/>
              <a:pPr/>
              <a:t>‹Nº›</a:t>
            </a:fld>
            <a:endParaRPr lang="es-CO" altLang="es-CO"/>
          </a:p>
        </p:txBody>
      </p:sp>
    </p:spTree>
    <p:extLst>
      <p:ext uri="{BB962C8B-B14F-4D97-AF65-F5344CB8AC3E}">
        <p14:creationId xmlns:p14="http://schemas.microsoft.com/office/powerpoint/2010/main" val="361105859"/>
      </p:ext>
    </p:extLst>
  </p:cSld>
  <p:clrMap bg1="lt1" tx1="dk1" bg2="dk2" tx2="lt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Lst>
  <p:hf sldNum="0" hdr="0" ftr="0" dt="0"/>
  <p:txStyles>
    <p:title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1pPr>
      <a:lvl2pPr lvl="1"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2pPr>
      <a:lvl3pPr lvl="2"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3pPr>
      <a:lvl4pPr lvl="3"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4pPr>
      <a:lvl5pPr lvl="4" algn="l" rtl="0" eaLnBrk="0" fontAlgn="base" hangingPunct="0">
        <a:spcBef>
          <a:spcPct val="0"/>
        </a:spcBef>
        <a:spcAft>
          <a:spcPct val="0"/>
        </a:spcAft>
        <a:buClr>
          <a:srgbClr val="000000"/>
        </a:buClr>
        <a:buFont typeface="Arial" panose="020B0604020202020204" pitchFamily="34" charset="0"/>
        <a:defRPr sz="1867">
          <a:solidFill>
            <a:srgbClr val="000000"/>
          </a:solidFill>
          <a:latin typeface="Arial"/>
          <a:ea typeface="Arial"/>
          <a:cs typeface="Arial"/>
          <a:sym typeface="Arial" panose="020B0604020202020204" pitchFamily="34" charset="0"/>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1.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9.jpeg"/></Relationships>
</file>

<file path=ppt/slides/_rels/slide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4.xml"/><Relationship Id="rId5" Type="http://schemas.openxmlformats.org/officeDocument/2006/relationships/image" Target="../media/image21.png"/><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7.xml"/><Relationship Id="rId5" Type="http://schemas.openxmlformats.org/officeDocument/2006/relationships/image" Target="../media/image27.png"/><Relationship Id="rId4" Type="http://schemas.openxmlformats.org/officeDocument/2006/relationships/image" Target="../media/image2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6.jpeg"/><Relationship Id="rId1" Type="http://schemas.openxmlformats.org/officeDocument/2006/relationships/slideLayout" Target="../slideLayouts/slideLayout2.xml"/><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121"/>
        <p:cNvGrpSpPr/>
        <p:nvPr/>
      </p:nvGrpSpPr>
      <p:grpSpPr>
        <a:xfrm>
          <a:off x="0" y="0"/>
          <a:ext cx="0" cy="0"/>
          <a:chOff x="0" y="0"/>
          <a:chExt cx="0" cy="0"/>
        </a:xfrm>
      </p:grpSpPr>
      <p:sp>
        <p:nvSpPr>
          <p:cNvPr id="5" name="Subtitle 5">
            <a:extLst>
              <a:ext uri="{FF2B5EF4-FFF2-40B4-BE49-F238E27FC236}">
                <a16:creationId xmlns:a16="http://schemas.microsoft.com/office/drawing/2014/main" id="{869CE330-5608-41A5-99AF-411A6E0C5D84}"/>
              </a:ext>
            </a:extLst>
          </p:cNvPr>
          <p:cNvSpPr txBox="1">
            <a:spLocks/>
          </p:cNvSpPr>
          <p:nvPr>
            <p:custDataLst>
              <p:tags r:id="rId1"/>
            </p:custDataLst>
          </p:nvPr>
        </p:nvSpPr>
        <p:spPr bwMode="auto">
          <a:xfrm>
            <a:off x="4030240" y="4101684"/>
            <a:ext cx="7918101" cy="4626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33" tIns="45700" rIns="91433" bIns="45700" numCol="1" anchor="t" anchorCtr="0" compatLnSpc="1">
            <a:prstTxWarp prst="textNoShape">
              <a:avLst/>
            </a:prstTxWarp>
          </a:bodyPr>
          <a:lstStyle>
            <a:defPPr marR="0" lvl="0" algn="l" rtl="0">
              <a:lnSpc>
                <a:spcPct val="100000"/>
              </a:lnSpc>
              <a:spcBef>
                <a:spcPts val="0"/>
              </a:spcBef>
              <a:spcAft>
                <a:spcPts val="0"/>
              </a:spcAft>
            </a:defPPr>
            <a:lvl1pPr marL="457200" lvl="0" indent="-685800" algn="l" rtl="0" eaLnBrk="0" fontAlgn="base" hangingPunct="0">
              <a:lnSpc>
                <a:spcPct val="90000"/>
              </a:lnSpc>
              <a:spcBef>
                <a:spcPts val="8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1pPr>
            <a:lvl2pPr marL="914400" lvl="1"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2pPr>
            <a:lvl3pPr marL="1371600" lvl="2"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3pPr>
            <a:lvl4pPr marL="1828800" lvl="3"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4pPr>
            <a:lvl5pPr marL="2286000" lvl="4" indent="-685800" algn="l" rtl="0" eaLnBrk="0" fontAlgn="base" hangingPunct="0">
              <a:lnSpc>
                <a:spcPct val="90000"/>
              </a:lnSpc>
              <a:spcBef>
                <a:spcPts val="400"/>
              </a:spcBef>
              <a:spcAft>
                <a:spcPts val="0"/>
              </a:spcAft>
              <a:buClr>
                <a:srgbClr val="0054BC"/>
              </a:buClr>
              <a:buSzPts val="7200"/>
              <a:buFont typeface="Work Sans"/>
              <a:buChar char="•"/>
              <a:defRPr sz="7200" b="1">
                <a:solidFill>
                  <a:srgbClr val="0054BC"/>
                </a:solidFill>
                <a:latin typeface="Arial"/>
                <a:ea typeface="Arial"/>
                <a:cs typeface="Arial"/>
                <a:sym typeface="Arial" panose="020B0604020202020204" pitchFamily="34" charset="0"/>
              </a:defRPr>
            </a:lvl5pPr>
            <a:lvl6pPr marL="2743200" marR="0" lvl="5"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6pPr>
            <a:lvl7pPr marL="3200400" marR="0" lvl="6"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7pPr>
            <a:lvl8pPr marL="3657600" marR="0" lvl="7"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8pPr>
            <a:lvl9pPr marL="4114800" marR="0" lvl="8" indent="-685800" algn="l" rtl="0">
              <a:lnSpc>
                <a:spcPct val="90000"/>
              </a:lnSpc>
              <a:spcBef>
                <a:spcPts val="400"/>
              </a:spcBef>
              <a:spcAft>
                <a:spcPts val="0"/>
              </a:spcAft>
              <a:buClr>
                <a:srgbClr val="0054BC"/>
              </a:buClr>
              <a:buSzPts val="7200"/>
              <a:buFont typeface="Work Sans"/>
              <a:buChar char="•"/>
              <a:defRPr sz="7200" b="1" i="0" u="none" strike="noStrike" cap="none">
                <a:solidFill>
                  <a:srgbClr val="0054BC"/>
                </a:solidFill>
                <a:latin typeface="Arial"/>
                <a:ea typeface="Arial"/>
                <a:cs typeface="Arial"/>
                <a:sym typeface="Arial"/>
              </a:defRPr>
            </a:lvl9pPr>
          </a:lstStyle>
          <a:p>
            <a:pPr marL="0" indent="0" algn="ctr" defTabSz="1219170">
              <a:spcBef>
                <a:spcPts val="1067"/>
              </a:spcBef>
              <a:buNone/>
            </a:pPr>
            <a:r>
              <a:rPr lang="es-ES" sz="1600" kern="0" dirty="0">
                <a:solidFill>
                  <a:srgbClr val="073763"/>
                </a:solidFill>
                <a:latin typeface="Century Gothic" panose="020B0502020202020204" pitchFamily="34" charset="0"/>
              </a:rPr>
              <a:t>Grupo Interno de Trabajo Social</a:t>
            </a:r>
          </a:p>
          <a:p>
            <a:pPr marL="0" indent="0" algn="ctr" defTabSz="1219170">
              <a:spcBef>
                <a:spcPts val="1067"/>
              </a:spcBef>
              <a:buNone/>
            </a:pPr>
            <a:r>
              <a:rPr lang="es-ES" sz="1600" kern="0" dirty="0">
                <a:solidFill>
                  <a:srgbClr val="073763"/>
                </a:solidFill>
                <a:latin typeface="Century Gothic" panose="020B0502020202020204" pitchFamily="34" charset="0"/>
              </a:rPr>
              <a:t>Vicepresidencia de Planeación, Riesgos y Entorno - VPRE</a:t>
            </a:r>
            <a:endParaRPr lang="en-US" sz="1600" kern="0" dirty="0">
              <a:solidFill>
                <a:srgbClr val="073763"/>
              </a:solidFill>
              <a:latin typeface="Century Gothic" panose="020B0502020202020204" pitchFamily="34" charset="0"/>
            </a:endParaRPr>
          </a:p>
        </p:txBody>
      </p:sp>
      <p:sp>
        <p:nvSpPr>
          <p:cNvPr id="2" name="Rectangle 1">
            <a:extLst>
              <a:ext uri="{FF2B5EF4-FFF2-40B4-BE49-F238E27FC236}">
                <a16:creationId xmlns:a16="http://schemas.microsoft.com/office/drawing/2014/main" id="{EECC0644-74EC-413B-8D1A-087605173C6A}"/>
              </a:ext>
            </a:extLst>
          </p:cNvPr>
          <p:cNvSpPr>
            <a:spLocks noChangeArrowheads="1"/>
          </p:cNvSpPr>
          <p:nvPr/>
        </p:nvSpPr>
        <p:spPr bwMode="auto">
          <a:xfrm rot="10800000" flipV="1">
            <a:off x="4273897" y="3200827"/>
            <a:ext cx="7674444"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33" tIns="45700" rIns="91433" bIns="45700" numCol="1" anchor="t" anchorCtr="0" compatLnSpc="1">
            <a:prstTxWarp prst="textNoShape">
              <a:avLst/>
            </a:prstTxWarp>
          </a:bodyPr>
          <a:lstStyle/>
          <a:p>
            <a:pPr algn="ctr" defTabSz="1219170" eaLnBrk="0" fontAlgn="base" hangingPunct="0">
              <a:lnSpc>
                <a:spcPct val="90000"/>
              </a:lnSpc>
              <a:spcBef>
                <a:spcPts val="1067"/>
              </a:spcBef>
              <a:buClr>
                <a:srgbClr val="0054BC"/>
              </a:buClr>
              <a:buSzPts val="7200"/>
              <a:buFont typeface="Work Sans"/>
              <a:buNone/>
            </a:pPr>
            <a:r>
              <a:rPr lang="es-CO" altLang="es-CO" sz="1600" b="1" kern="0" dirty="0">
                <a:solidFill>
                  <a:srgbClr val="073763"/>
                </a:solidFill>
                <a:latin typeface="Century Gothic" panose="020B0502020202020204" pitchFamily="34" charset="0"/>
                <a:ea typeface="Arial"/>
                <a:cs typeface="Arial"/>
              </a:rPr>
              <a:t>Gestión social para la equidad, el respeto y promoción de derechos humanos, objetivos de desarrollo sostenible y participación ciudadana.</a:t>
            </a:r>
          </a:p>
        </p:txBody>
      </p:sp>
      <p:sp>
        <p:nvSpPr>
          <p:cNvPr id="6" name="Rectangle 3">
            <a:extLst>
              <a:ext uri="{FF2B5EF4-FFF2-40B4-BE49-F238E27FC236}">
                <a16:creationId xmlns:a16="http://schemas.microsoft.com/office/drawing/2014/main" id="{B72FCD2C-C2F3-4FBB-A6A1-0F729845181C}"/>
              </a:ext>
            </a:extLst>
          </p:cNvPr>
          <p:cNvSpPr>
            <a:spLocks noChangeArrowheads="1"/>
          </p:cNvSpPr>
          <p:nvPr/>
        </p:nvSpPr>
        <p:spPr bwMode="auto">
          <a:xfrm>
            <a:off x="4506059" y="3715366"/>
            <a:ext cx="106363" cy="107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0" rIns="0" bIns="0" numCol="1" anchor="ctr" anchorCtr="0" compatLnSpc="1">
            <a:prstTxWarp prst="textNoShape">
              <a:avLst/>
            </a:prstTxWarp>
            <a:spAutoFit/>
          </a:bodyPr>
          <a:lstStyle/>
          <a:p>
            <a:endParaRPr lang="es-CO"/>
          </a:p>
        </p:txBody>
      </p:sp>
      <p:sp>
        <p:nvSpPr>
          <p:cNvPr id="8" name="Rectangle 1">
            <a:extLst>
              <a:ext uri="{FF2B5EF4-FFF2-40B4-BE49-F238E27FC236}">
                <a16:creationId xmlns:a16="http://schemas.microsoft.com/office/drawing/2014/main" id="{4425CB46-56D7-4E09-BADC-C25B6F2D4FD4}"/>
              </a:ext>
            </a:extLst>
          </p:cNvPr>
          <p:cNvSpPr>
            <a:spLocks noChangeArrowheads="1"/>
          </p:cNvSpPr>
          <p:nvPr/>
        </p:nvSpPr>
        <p:spPr bwMode="auto">
          <a:xfrm rot="10800000" flipV="1">
            <a:off x="4152068" y="2313706"/>
            <a:ext cx="8039932" cy="6155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lang="es-CO" altLang="es-CO" sz="4000" b="1" dirty="0">
                <a:effectLst>
                  <a:outerShdw blurRad="38100" dist="38100" dir="2700000" algn="tl">
                    <a:srgbClr val="000000">
                      <a:alpha val="43137"/>
                    </a:srgbClr>
                  </a:outerShdw>
                </a:effectLst>
                <a:latin typeface="Century Gothic" panose="020B0502020202020204" pitchFamily="34" charset="0"/>
              </a:rPr>
              <a:t>A</a:t>
            </a:r>
            <a:r>
              <a:rPr lang="es-CO" altLang="es-CO" sz="2800" b="1" dirty="0">
                <a:effectLst>
                  <a:outerShdw blurRad="38100" dist="38100" dir="2700000" algn="tl">
                    <a:srgbClr val="000000">
                      <a:alpha val="43137"/>
                    </a:srgbClr>
                  </a:outerShdw>
                </a:effectLst>
                <a:latin typeface="Century Gothic" panose="020B0502020202020204" pitchFamily="34" charset="0"/>
              </a:rPr>
              <a:t>NI </a:t>
            </a:r>
            <a:r>
              <a:rPr lang="es-CO" altLang="es-CO" sz="4000" b="1" dirty="0">
                <a:effectLst>
                  <a:outerShdw blurRad="38100" dist="38100" dir="2700000" algn="tl">
                    <a:srgbClr val="000000">
                      <a:alpha val="43137"/>
                    </a:srgbClr>
                  </a:outerShdw>
                </a:effectLst>
                <a:latin typeface="Century Gothic" panose="020B0502020202020204" pitchFamily="34" charset="0"/>
              </a:rPr>
              <a:t>S</a:t>
            </a:r>
            <a:r>
              <a:rPr lang="es-CO" altLang="es-CO" sz="2800" b="1" dirty="0">
                <a:effectLst>
                  <a:outerShdw blurRad="38100" dist="38100" dir="2700000" algn="tl">
                    <a:srgbClr val="000000">
                      <a:alpha val="43137"/>
                    </a:srgbClr>
                  </a:outerShdw>
                </a:effectLst>
                <a:latin typeface="Century Gothic" panose="020B0502020202020204" pitchFamily="34" charset="0"/>
              </a:rPr>
              <a:t>OCIAL</a:t>
            </a:r>
            <a:endParaRPr kumimoji="0" lang="es-CO" altLang="es-CO" sz="2400" b="1" i="0" u="none" strike="noStrike" cap="none" normalizeH="0" baseline="0" dirty="0">
              <a:ln>
                <a:noFill/>
              </a:ln>
              <a:solidFill>
                <a:schemeClr val="tx1"/>
              </a:solidFill>
              <a:effectLst>
                <a:outerShdw blurRad="38100" dist="38100" dir="2700000" algn="tl">
                  <a:srgbClr val="000000">
                    <a:alpha val="43137"/>
                  </a:srgbClr>
                </a:outerShdw>
              </a:effectLst>
              <a:latin typeface="Century Gothic" panose="020B0502020202020204" pitchFamily="34" charset="0"/>
            </a:endParaRPr>
          </a:p>
        </p:txBody>
      </p:sp>
      <p:sp>
        <p:nvSpPr>
          <p:cNvPr id="7" name="Rectangle 1">
            <a:extLst>
              <a:ext uri="{FF2B5EF4-FFF2-40B4-BE49-F238E27FC236}">
                <a16:creationId xmlns:a16="http://schemas.microsoft.com/office/drawing/2014/main" id="{BDFD7BDD-EDA7-4061-BE18-61637087AFF0}"/>
              </a:ext>
            </a:extLst>
          </p:cNvPr>
          <p:cNvSpPr>
            <a:spLocks noChangeArrowheads="1"/>
          </p:cNvSpPr>
          <p:nvPr/>
        </p:nvSpPr>
        <p:spPr bwMode="auto">
          <a:xfrm rot="10800000" flipV="1">
            <a:off x="0" y="240730"/>
            <a:ext cx="4273896"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spcFirstLastPara="1" vert="horz" wrap="square" lIns="91433" tIns="45700" rIns="91433" bIns="45700" numCol="1" anchor="t" anchorCtr="0" compatLnSpc="1">
            <a:prstTxWarp prst="textNoShape">
              <a:avLst/>
            </a:prstTxWarp>
          </a:bodyPr>
          <a:lstStyle/>
          <a:p>
            <a:pPr algn="ctr" defTabSz="1219170" eaLnBrk="0" fontAlgn="base" hangingPunct="0">
              <a:lnSpc>
                <a:spcPct val="90000"/>
              </a:lnSpc>
              <a:spcBef>
                <a:spcPts val="1067"/>
              </a:spcBef>
              <a:buClr>
                <a:srgbClr val="0054BC"/>
              </a:buClr>
              <a:buSzPts val="7200"/>
              <a:buFont typeface="Work Sans"/>
              <a:buNone/>
            </a:pPr>
            <a:r>
              <a:rPr lang="es-CO" altLang="es-CO" sz="1600" b="1" kern="0" dirty="0">
                <a:solidFill>
                  <a:schemeClr val="bg1"/>
                </a:solidFill>
                <a:latin typeface="Century Gothic" panose="020B0502020202020204" pitchFamily="34" charset="0"/>
                <a:ea typeface="Arial"/>
                <a:cs typeface="Arial"/>
              </a:rPr>
              <a:t>Reporte cuarto Trimestre 2019</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591288" y="3225860"/>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34477" y="4394983"/>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16.7 </a:t>
            </a:r>
          </a:p>
          <a:p>
            <a:pPr algn="ctr" defTabSz="1219170">
              <a:buClr>
                <a:srgbClr val="000000"/>
              </a:buClr>
            </a:pPr>
            <a:r>
              <a:rPr lang="es-CO" sz="1200" kern="0" dirty="0">
                <a:solidFill>
                  <a:srgbClr val="000000"/>
                </a:solidFill>
                <a:latin typeface="Century Gothic" panose="020B0502020202020204" pitchFamily="34" charset="0"/>
                <a:cs typeface="Arial"/>
                <a:sym typeface="Arial"/>
              </a:rPr>
              <a:t>Garantizar la adopción de decisiones inclusivas, participativas y representativas que respondan a las necesidades a todos los niveles</a:t>
            </a:r>
            <a:r>
              <a:rPr lang="es-CO" sz="1400" b="1" kern="0" dirty="0">
                <a:solidFill>
                  <a:srgbClr val="000000"/>
                </a:solidFill>
                <a:latin typeface="Century Gothic" panose="020B0502020202020204" pitchFamily="34" charset="0"/>
                <a:cs typeface="Arial"/>
                <a:sym typeface="Arial"/>
              </a:rPr>
              <a:t>.</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320344"/>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promueve, respeta y garantiza el derecho a la consulta previa a las comunidades étnicas  </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4" y="3251290"/>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47735" y="3327782"/>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80895" y="3858088"/>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CONSULTA PREVIA</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587031" y="2755393"/>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35364" y="3213576"/>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680636" y="3762980"/>
            <a:ext cx="2844077" cy="553998"/>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16. PAZ, JUSTICIA E INSTITUCIONES SÓLIDAS</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36277" y="3171554"/>
            <a:ext cx="3046355" cy="2643261"/>
            <a:chOff x="334963" y="1838325"/>
            <a:chExt cx="2484437" cy="2892907"/>
          </a:xfrm>
        </p:grpSpPr>
        <p:grpSp>
          <p:nvGrpSpPr>
            <p:cNvPr id="24" name="Grupo 12">
              <a:extLst>
                <a:ext uri="{FF2B5EF4-FFF2-40B4-BE49-F238E27FC236}">
                  <a16:creationId xmlns:a16="http://schemas.microsoft.com/office/drawing/2014/main" id="{6EE09BC1-97C9-406F-894E-DDE5FC68888D}"/>
                </a:ext>
              </a:extLst>
            </p:cNvPr>
            <p:cNvGrpSpPr>
              <a:grpSpLocks/>
            </p:cNvGrpSpPr>
            <p:nvPr/>
          </p:nvGrpSpPr>
          <p:grpSpPr bwMode="auto">
            <a:xfrm>
              <a:off x="334963" y="1843088"/>
              <a:ext cx="2484437" cy="2888144"/>
              <a:chOff x="684214" y="2060575"/>
              <a:chExt cx="2232025" cy="2349585"/>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a:xfrm>
                <a:off x="684214" y="2060575"/>
                <a:ext cx="2232025" cy="2349585"/>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7" name="Redondear rectángulo de esquina diagonal 5">
                <a:extLst>
                  <a:ext uri="{FF2B5EF4-FFF2-40B4-BE49-F238E27FC236}">
                    <a16:creationId xmlns:a16="http://schemas.microsoft.com/office/drawing/2014/main" id="{E6DC643D-B82A-4696-AACC-2801279B5ED7}"/>
                  </a:ext>
                </a:extLst>
              </p:cNvPr>
              <p:cNvSpPr/>
              <p:nvPr/>
            </p:nvSpPr>
            <p:spPr>
              <a:xfrm>
                <a:off x="684214" y="2060575"/>
                <a:ext cx="2232025" cy="997019"/>
              </a:xfrm>
              <a:prstGeom prst="round2DiagRect">
                <a:avLst>
                  <a:gd name="adj1" fmla="val 42065"/>
                  <a:gd name="adj2" fmla="val 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777274" y="2763545"/>
            <a:ext cx="921916" cy="837485"/>
          </a:xfrm>
          <a:prstGeom prst="ellipse">
            <a:avLst/>
          </a:prstGeom>
          <a:ln w="38100">
            <a:noFill/>
          </a:ln>
        </p:spPr>
      </p:pic>
      <p:sp>
        <p:nvSpPr>
          <p:cNvPr id="30" name="Google Shape;438;p68">
            <a:extLst>
              <a:ext uri="{FF2B5EF4-FFF2-40B4-BE49-F238E27FC236}">
                <a16:creationId xmlns:a16="http://schemas.microsoft.com/office/drawing/2014/main" id="{83ED8BBC-3D66-4E05-9291-3AA1842E6F14}"/>
              </a:ext>
            </a:extLst>
          </p:cNvPr>
          <p:cNvSpPr txBox="1"/>
          <p:nvPr/>
        </p:nvSpPr>
        <p:spPr>
          <a:xfrm>
            <a:off x="8218248" y="3736976"/>
            <a:ext cx="3438637"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500" b="1" kern="0" dirty="0">
                <a:solidFill>
                  <a:srgbClr val="000000"/>
                </a:solidFill>
                <a:latin typeface="Century Gothic" panose="020B0502020202020204" pitchFamily="34" charset="0"/>
                <a:cs typeface="Arial"/>
                <a:sym typeface="Arial"/>
              </a:rPr>
              <a:t>CONSULTAS PREVIAS</a:t>
            </a:r>
            <a:endParaRPr lang="es-MX" sz="1500" b="1" kern="0" dirty="0">
              <a:solidFill>
                <a:srgbClr val="000000"/>
              </a:solidFill>
              <a:latin typeface="Century Gothic" panose="020B0502020202020204" pitchFamily="34" charset="0"/>
              <a:cs typeface="Arial"/>
              <a:sym typeface="Economica"/>
            </a:endParaRPr>
          </a:p>
        </p:txBody>
      </p:sp>
      <p:sp>
        <p:nvSpPr>
          <p:cNvPr id="31" name="Rectángulo 30">
            <a:extLst>
              <a:ext uri="{FF2B5EF4-FFF2-40B4-BE49-F238E27FC236}">
                <a16:creationId xmlns:a16="http://schemas.microsoft.com/office/drawing/2014/main" id="{306FF2DE-1188-4546-BB50-CFC0B5A8C8A8}"/>
              </a:ext>
            </a:extLst>
          </p:cNvPr>
          <p:cNvSpPr/>
          <p:nvPr/>
        </p:nvSpPr>
        <p:spPr>
          <a:xfrm>
            <a:off x="8544800" y="4375432"/>
            <a:ext cx="2829308" cy="1892826"/>
          </a:xfrm>
          <a:prstGeom prst="rect">
            <a:avLst/>
          </a:prstGeom>
        </p:spPr>
        <p:txBody>
          <a:bodyPr wrap="square">
            <a:spAutoFit/>
          </a:bodyPr>
          <a:lstStyle/>
          <a:p>
            <a:pPr algn="ctr" defTabSz="1219170">
              <a:buClr>
                <a:srgbClr val="000000"/>
              </a:buClr>
            </a:pPr>
            <a:r>
              <a:rPr lang="es-CO" sz="1300" kern="0" dirty="0">
                <a:solidFill>
                  <a:srgbClr val="000000"/>
                </a:solidFill>
                <a:latin typeface="Century Gothic" panose="020B0502020202020204" pitchFamily="34" charset="0"/>
                <a:cs typeface="Arial"/>
                <a:sym typeface="Arial"/>
              </a:rPr>
              <a:t>De los 29 proyectos 4G, 10 han requerido 39 consultas previas.</a:t>
            </a:r>
          </a:p>
          <a:p>
            <a:pPr algn="ctr" defTabSz="1219170">
              <a:buClr>
                <a:srgbClr val="000000"/>
              </a:buClr>
            </a:pPr>
            <a:endParaRPr lang="es-CO" sz="1300"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kern="0" dirty="0">
                <a:solidFill>
                  <a:srgbClr val="000000"/>
                </a:solidFill>
                <a:latin typeface="Century Gothic" panose="020B0502020202020204" pitchFamily="34" charset="0"/>
                <a:cs typeface="Arial"/>
                <a:sym typeface="Arial"/>
              </a:rPr>
              <a:t>Actualmente se tiene un</a:t>
            </a:r>
            <a:r>
              <a:rPr lang="es-CO" sz="1300" b="1" kern="0" dirty="0">
                <a:solidFill>
                  <a:srgbClr val="000000"/>
                </a:solidFill>
                <a:latin typeface="Century Gothic" panose="020B0502020202020204" pitchFamily="34" charset="0"/>
                <a:cs typeface="Arial"/>
                <a:sym typeface="Arial"/>
              </a:rPr>
              <a:t> 92.4% de avance</a:t>
            </a: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b="1" kern="0" dirty="0">
                <a:solidFill>
                  <a:srgbClr val="000000"/>
                </a:solidFill>
                <a:latin typeface="Century Gothic" panose="020B0502020202020204" pitchFamily="34" charset="0"/>
                <a:cs typeface="Arial"/>
                <a:sym typeface="Arial"/>
              </a:rPr>
              <a:t>  </a:t>
            </a:r>
            <a:endParaRPr lang="en-US" sz="1300" b="1" kern="0" dirty="0">
              <a:solidFill>
                <a:srgbClr val="000000"/>
              </a:solidFill>
              <a:latin typeface="Century Gothic" panose="020B0502020202020204" pitchFamily="34" charset="0"/>
              <a:cs typeface="Arial"/>
              <a:sym typeface="Arial"/>
            </a:endParaRPr>
          </a:p>
        </p:txBody>
      </p:sp>
      <p:sp>
        <p:nvSpPr>
          <p:cNvPr id="2" name="Rectángulo 1">
            <a:extLst>
              <a:ext uri="{FF2B5EF4-FFF2-40B4-BE49-F238E27FC236}">
                <a16:creationId xmlns:a16="http://schemas.microsoft.com/office/drawing/2014/main" id="{53C79405-2D46-4950-890A-43ACE1B8D8F0}"/>
              </a:ext>
            </a:extLst>
          </p:cNvPr>
          <p:cNvSpPr/>
          <p:nvPr/>
        </p:nvSpPr>
        <p:spPr>
          <a:xfrm>
            <a:off x="1018207" y="4422335"/>
            <a:ext cx="3034051" cy="1200329"/>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Es el derecho fundamental que tienen los grupos étnicos cuando se toman medidas legislativas, administrativas o aquellas relacionadas con el desarrollo de proyectos, obras o actividades en sus territorios.</a:t>
            </a:r>
            <a:endParaRPr lang="es-MX" sz="1200" kern="0" dirty="0">
              <a:solidFill>
                <a:srgbClr val="000000"/>
              </a:solidFill>
              <a:latin typeface="Century Gothic" panose="020B0502020202020204" pitchFamily="34" charset="0"/>
              <a:cs typeface="Arial"/>
              <a:sym typeface="Economica"/>
            </a:endParaRPr>
          </a:p>
        </p:txBody>
      </p:sp>
      <p:pic>
        <p:nvPicPr>
          <p:cNvPr id="33" name="Picture 22" descr="Resultado de imagen para ods paz justicia e instituciones solidas">
            <a:extLst>
              <a:ext uri="{FF2B5EF4-FFF2-40B4-BE49-F238E27FC236}">
                <a16:creationId xmlns:a16="http://schemas.microsoft.com/office/drawing/2014/main" id="{5F29D3AA-A93B-4880-A919-519143C6DFD9}"/>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315" t="5036" r="4728" b="10402"/>
          <a:stretch/>
        </p:blipFill>
        <p:spPr bwMode="auto">
          <a:xfrm>
            <a:off x="4230228" y="2846546"/>
            <a:ext cx="900816" cy="837485"/>
          </a:xfrm>
          <a:prstGeom prst="ellipse">
            <a:avLst/>
          </a:prstGeom>
          <a:noFill/>
          <a:extLst>
            <a:ext uri="{909E8E84-426E-40DD-AFC4-6F175D3DCCD1}">
              <a14:hiddenFill xmlns:a14="http://schemas.microsoft.com/office/drawing/2010/main">
                <a:solidFill>
                  <a:srgbClr val="FFFFFF"/>
                </a:solidFill>
              </a14:hiddenFill>
            </a:ext>
          </a:extLst>
        </p:spPr>
      </p:pic>
      <p:sp>
        <p:nvSpPr>
          <p:cNvPr id="34" name="Rectángulo 33">
            <a:extLst>
              <a:ext uri="{FF2B5EF4-FFF2-40B4-BE49-F238E27FC236}">
                <a16:creationId xmlns:a16="http://schemas.microsoft.com/office/drawing/2014/main" id="{66C8BD29-789F-410F-9C23-72905B71C826}"/>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5" name="Rectángulo 34">
            <a:extLst>
              <a:ext uri="{FF2B5EF4-FFF2-40B4-BE49-F238E27FC236}">
                <a16:creationId xmlns:a16="http://schemas.microsoft.com/office/drawing/2014/main" id="{D804B46A-673D-4AB5-938D-8BC14392D275}"/>
              </a:ext>
            </a:extLst>
          </p:cNvPr>
          <p:cNvSpPr/>
          <p:nvPr/>
        </p:nvSpPr>
        <p:spPr>
          <a:xfrm>
            <a:off x="-13892" y="909670"/>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Tree>
    <p:extLst>
      <p:ext uri="{BB962C8B-B14F-4D97-AF65-F5344CB8AC3E}">
        <p14:creationId xmlns:p14="http://schemas.microsoft.com/office/powerpoint/2010/main" val="1836009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591288" y="3225860"/>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rgbClr val="FCC4C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rgbClr val="FF61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rgbClr val="FF1B1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09834" y="4277233"/>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1</a:t>
            </a:r>
          </a:p>
          <a:p>
            <a:pPr algn="ctr" defTabSz="1219170">
              <a:buClr>
                <a:srgbClr val="000000"/>
              </a:buClr>
            </a:pPr>
            <a:r>
              <a:rPr lang="es-CO" sz="1200" kern="0" dirty="0">
                <a:solidFill>
                  <a:srgbClr val="000000"/>
                </a:solidFill>
                <a:latin typeface="Century Gothic" panose="020B0502020202020204" pitchFamily="34" charset="0"/>
                <a:cs typeface="Arial"/>
                <a:sym typeface="Arial"/>
              </a:rPr>
              <a:t>Garantizar una movilización significativa de recursos procedentes de diversas fuentes, para poner en práctica programas y políticas encaminadas a poner fin a la pobreza en todas sus dimensiones</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4" y="3251290"/>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47735" y="3327782"/>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80895" y="3858088"/>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25</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587031" y="2755393"/>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35364" y="3213576"/>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667784" y="3858088"/>
            <a:ext cx="2844077" cy="323165"/>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1. FIN DE LA POBREZA</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36277" y="3171554"/>
            <a:ext cx="3046355" cy="2643261"/>
            <a:chOff x="334963" y="1838325"/>
            <a:chExt cx="2484437" cy="2892907"/>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bwMode="auto">
            <a:xfrm>
              <a:off x="334963" y="1843088"/>
              <a:ext cx="2484437" cy="2888144"/>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777274" y="2763545"/>
            <a:ext cx="921916" cy="837485"/>
          </a:xfrm>
          <a:prstGeom prst="ellipse">
            <a:avLst/>
          </a:prstGeom>
          <a:ln w="38100">
            <a:noFill/>
          </a:ln>
        </p:spPr>
      </p:pic>
      <p:sp>
        <p:nvSpPr>
          <p:cNvPr id="2" name="Rectángulo 1">
            <a:extLst>
              <a:ext uri="{FF2B5EF4-FFF2-40B4-BE49-F238E27FC236}">
                <a16:creationId xmlns:a16="http://schemas.microsoft.com/office/drawing/2014/main" id="{53C79405-2D46-4950-890A-43ACE1B8D8F0}"/>
              </a:ext>
            </a:extLst>
          </p:cNvPr>
          <p:cNvSpPr/>
          <p:nvPr/>
        </p:nvSpPr>
        <p:spPr>
          <a:xfrm>
            <a:off x="1080895" y="4429820"/>
            <a:ext cx="2857404" cy="1384995"/>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Toda persona tiene derecho a un nivel de vida adecuado que le asegure, así como a su familia, la salud y el bienestar, y en especial la alimentación, el vestido, la </a:t>
            </a:r>
            <a:r>
              <a:rPr lang="es-CO" sz="1200" b="1" kern="0" dirty="0">
                <a:solidFill>
                  <a:srgbClr val="000000"/>
                </a:solidFill>
                <a:latin typeface="Century Gothic" panose="020B0502020202020204" pitchFamily="34" charset="0"/>
                <a:cs typeface="Arial"/>
                <a:sym typeface="Arial"/>
              </a:rPr>
              <a:t>vivienda, </a:t>
            </a:r>
            <a:r>
              <a:rPr lang="es-CO" sz="1200" kern="0" dirty="0">
                <a:solidFill>
                  <a:srgbClr val="000000"/>
                </a:solidFill>
                <a:latin typeface="Century Gothic" panose="020B0502020202020204" pitchFamily="34" charset="0"/>
                <a:cs typeface="Arial"/>
                <a:sym typeface="Arial"/>
              </a:rPr>
              <a:t>la asistencia médica y los servicios sociales necesarios.</a:t>
            </a:r>
            <a:endParaRPr lang="es-MX" sz="1200" kern="0" dirty="0">
              <a:solidFill>
                <a:srgbClr val="000000"/>
              </a:solidFill>
              <a:latin typeface="Century Gothic" panose="020B0502020202020204" pitchFamily="34" charset="0"/>
              <a:cs typeface="Arial"/>
              <a:sym typeface="Economica"/>
            </a:endParaRPr>
          </a:p>
        </p:txBody>
      </p:sp>
      <p:sp>
        <p:nvSpPr>
          <p:cNvPr id="34" name="Rectángulo 33">
            <a:extLst>
              <a:ext uri="{FF2B5EF4-FFF2-40B4-BE49-F238E27FC236}">
                <a16:creationId xmlns:a16="http://schemas.microsoft.com/office/drawing/2014/main" id="{66C8BD29-789F-410F-9C23-72905B71C826}"/>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5" name="Rectángulo 34">
            <a:extLst>
              <a:ext uri="{FF2B5EF4-FFF2-40B4-BE49-F238E27FC236}">
                <a16:creationId xmlns:a16="http://schemas.microsoft.com/office/drawing/2014/main" id="{C5C8AFE7-F26B-4675-A341-8E1A06EE000F}"/>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garantiza el derecho a la vivienda digna de las unidades sociales ubicadas en las áreas de  terreno requeridas para los proyectos. </a:t>
            </a:r>
          </a:p>
        </p:txBody>
      </p:sp>
      <p:pic>
        <p:nvPicPr>
          <p:cNvPr id="36" name="Imagen 35">
            <a:extLst>
              <a:ext uri="{FF2B5EF4-FFF2-40B4-BE49-F238E27FC236}">
                <a16:creationId xmlns:a16="http://schemas.microsoft.com/office/drawing/2014/main" id="{4000B24B-C363-4578-B963-95E38E98D93D}"/>
              </a:ext>
            </a:extLst>
          </p:cNvPr>
          <p:cNvPicPr>
            <a:picLocks noChangeAspect="1"/>
          </p:cNvPicPr>
          <p:nvPr/>
        </p:nvPicPr>
        <p:blipFill rotWithShape="1">
          <a:blip r:embed="rId4"/>
          <a:srcRect l="-5081" t="-7523" r="5081" b="7523"/>
          <a:stretch/>
        </p:blipFill>
        <p:spPr>
          <a:xfrm>
            <a:off x="4100031" y="2734786"/>
            <a:ext cx="1054092" cy="1054092"/>
          </a:xfrm>
          <a:prstGeom prst="ellipse">
            <a:avLst/>
          </a:prstGeom>
        </p:spPr>
      </p:pic>
      <p:sp>
        <p:nvSpPr>
          <p:cNvPr id="38" name="Rectángulo 37">
            <a:extLst>
              <a:ext uri="{FF2B5EF4-FFF2-40B4-BE49-F238E27FC236}">
                <a16:creationId xmlns:a16="http://schemas.microsoft.com/office/drawing/2014/main" id="{C986E103-AA7F-4809-B94F-337EE2050B62}"/>
              </a:ext>
            </a:extLst>
          </p:cNvPr>
          <p:cNvSpPr/>
          <p:nvPr/>
        </p:nvSpPr>
        <p:spPr>
          <a:xfrm>
            <a:off x="-13892" y="909670"/>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9" name="Rectángulo 38">
            <a:extLst>
              <a:ext uri="{FF2B5EF4-FFF2-40B4-BE49-F238E27FC236}">
                <a16:creationId xmlns:a16="http://schemas.microsoft.com/office/drawing/2014/main" id="{BC97EFE5-3810-4EBE-A857-1FBC6510F08D}"/>
              </a:ext>
            </a:extLst>
          </p:cNvPr>
          <p:cNvSpPr/>
          <p:nvPr/>
        </p:nvSpPr>
        <p:spPr>
          <a:xfrm>
            <a:off x="8521805" y="4724481"/>
            <a:ext cx="2905664" cy="769441"/>
          </a:xfrm>
          <a:prstGeom prst="rect">
            <a:avLst/>
          </a:prstGeom>
        </p:spPr>
        <p:txBody>
          <a:bodyPr wrap="square">
            <a:spAutoFit/>
          </a:bodyPr>
          <a:lstStyle/>
          <a:p>
            <a:pPr marR="0" lvl="0" algn="ctr" defTabSz="914400" rtl="0" eaLnBrk="1" fontAlgn="auto" latinLnBrk="0" hangingPunct="1">
              <a:lnSpc>
                <a:spcPct val="100000"/>
              </a:lnSpc>
              <a:spcBef>
                <a:spcPts val="0"/>
              </a:spcBef>
              <a:spcAft>
                <a:spcPts val="0"/>
              </a:spcAft>
              <a:buClrTx/>
              <a:buSzTx/>
              <a:tabLst/>
              <a:defRPr/>
            </a:pPr>
            <a:endParaRPr lang="es-CO" sz="1100" b="1" noProof="0" dirty="0">
              <a:solidFill>
                <a:srgbClr val="000000"/>
              </a:solidFill>
              <a:latin typeface="Century Gothic" panose="020B0502020202020204" pitchFamily="34" charset="0"/>
            </a:endParaRPr>
          </a:p>
          <a:p>
            <a:pPr marR="0" lvl="0" algn="ctr" defTabSz="914400" rtl="0" eaLnBrk="1" fontAlgn="auto" latinLnBrk="0" hangingPunct="1">
              <a:lnSpc>
                <a:spcPct val="100000"/>
              </a:lnSpc>
              <a:spcBef>
                <a:spcPts val="0"/>
              </a:spcBef>
              <a:spcAft>
                <a:spcPts val="0"/>
              </a:spcAft>
              <a:buClrTx/>
              <a:buSzTx/>
              <a:tabLst/>
              <a:defRPr/>
            </a:pP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rPr>
              <a:t>236</a:t>
            </a:r>
            <a:r>
              <a:rPr kumimoji="0" lang="es-CO" sz="105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Unidades Sociale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reasentadas en 4G. Con una inversión de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a:t>
            </a:r>
            <a:r>
              <a:rPr lang="es-CO" sz="1100" b="1" dirty="0">
                <a:solidFill>
                  <a:srgbClr val="000000"/>
                </a:solidFill>
                <a:latin typeface="Century Gothic" panose="020B0502020202020204" pitchFamily="34" charset="0"/>
              </a:rPr>
              <a:t>2.976 mi</a:t>
            </a:r>
            <a:r>
              <a:rPr kumimoji="0" lang="es-CO" sz="1100" b="1"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mn-cs"/>
              </a:rPr>
              <a:t>llones</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invertido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 planes de reasentamiento.</a:t>
            </a:r>
            <a:endParaRPr kumimoji="0" lang="es-CO"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40" name="Rectángulo 39">
            <a:extLst>
              <a:ext uri="{FF2B5EF4-FFF2-40B4-BE49-F238E27FC236}">
                <a16:creationId xmlns:a16="http://schemas.microsoft.com/office/drawing/2014/main" id="{06348906-F5C3-41C9-A1DB-400A5D05C077}"/>
              </a:ext>
            </a:extLst>
          </p:cNvPr>
          <p:cNvSpPr/>
          <p:nvPr/>
        </p:nvSpPr>
        <p:spPr>
          <a:xfrm>
            <a:off x="8485791" y="3878701"/>
            <a:ext cx="3019896" cy="830997"/>
          </a:xfrm>
          <a:prstGeom prst="rect">
            <a:avLst/>
          </a:prstGeom>
        </p:spPr>
        <p:txBody>
          <a:bodyPr wrap="square">
            <a:spAutoFit/>
          </a:bodyPr>
          <a:lstStyle/>
          <a:p>
            <a:pPr lvl="0" algn="ctr">
              <a:defRPr/>
            </a:pPr>
            <a:r>
              <a:rPr lang="es-CO" sz="1200" b="1" dirty="0">
                <a:solidFill>
                  <a:srgbClr val="000000"/>
                </a:solidFill>
                <a:latin typeface="Century Gothic" panose="020B0502020202020204" pitchFamily="34" charset="0"/>
              </a:rPr>
              <a:t>1,709 Unidades Sociales </a:t>
            </a:r>
            <a:r>
              <a:rPr lang="es-CO" sz="1200" dirty="0">
                <a:solidFill>
                  <a:srgbClr val="000000"/>
                </a:solidFill>
                <a:latin typeface="Century Gothic" panose="020B0502020202020204" pitchFamily="34" charset="0"/>
              </a:rPr>
              <a:t>objeto de compensación socioeconómica. </a:t>
            </a:r>
          </a:p>
          <a:p>
            <a:pPr lvl="0" algn="ctr">
              <a:defRPr/>
            </a:pPr>
            <a:r>
              <a:rPr lang="es-CO" sz="1200" dirty="0">
                <a:solidFill>
                  <a:srgbClr val="000000"/>
                </a:solidFill>
                <a:latin typeface="Century Gothic" panose="020B0502020202020204" pitchFamily="34" charset="0"/>
              </a:rPr>
              <a:t>Se han reconocido más de </a:t>
            </a:r>
            <a:r>
              <a:rPr lang="es-CO" sz="1200" b="1" dirty="0">
                <a:solidFill>
                  <a:srgbClr val="000000"/>
                </a:solidFill>
                <a:latin typeface="Century Gothic" panose="020B0502020202020204" pitchFamily="34" charset="0"/>
              </a:rPr>
              <a:t>$17,500 millones</a:t>
            </a:r>
          </a:p>
        </p:txBody>
      </p:sp>
    </p:spTree>
    <p:extLst>
      <p:ext uri="{BB962C8B-B14F-4D97-AF65-F5344CB8AC3E}">
        <p14:creationId xmlns:p14="http://schemas.microsoft.com/office/powerpoint/2010/main" val="136744902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Imagen 30">
            <a:extLst>
              <a:ext uri="{FF2B5EF4-FFF2-40B4-BE49-F238E27FC236}">
                <a16:creationId xmlns:a16="http://schemas.microsoft.com/office/drawing/2014/main" id="{603970B4-A0DC-41EE-9D5C-8D20F1B48043}"/>
              </a:ext>
            </a:extLst>
          </p:cNvPr>
          <p:cNvPicPr>
            <a:picLocks noChangeAspect="1"/>
          </p:cNvPicPr>
          <p:nvPr/>
        </p:nvPicPr>
        <p:blipFill>
          <a:blip r:embed="rId3"/>
          <a:stretch>
            <a:fillRect/>
          </a:stretch>
        </p:blipFill>
        <p:spPr>
          <a:xfrm>
            <a:off x="1504336" y="1179871"/>
            <a:ext cx="9495352" cy="5338529"/>
          </a:xfrm>
          <a:prstGeom prst="rect">
            <a:avLst/>
          </a:prstGeom>
          <a:ln>
            <a:noFill/>
          </a:ln>
          <a:effectLst>
            <a:softEdge rad="112500"/>
          </a:effectLst>
        </p:spPr>
      </p:pic>
      <p:sp>
        <p:nvSpPr>
          <p:cNvPr id="32" name="Rectángulo 31">
            <a:extLst>
              <a:ext uri="{FF2B5EF4-FFF2-40B4-BE49-F238E27FC236}">
                <a16:creationId xmlns:a16="http://schemas.microsoft.com/office/drawing/2014/main" id="{D73D0732-414B-4A08-B309-2F6B5135A887}"/>
              </a:ext>
            </a:extLst>
          </p:cNvPr>
          <p:cNvSpPr/>
          <p:nvPr/>
        </p:nvSpPr>
        <p:spPr>
          <a:xfrm>
            <a:off x="4224342" y="6518400"/>
            <a:ext cx="3743315" cy="256545"/>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067"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Fuente: @</a:t>
            </a:r>
            <a:r>
              <a:rPr kumimoji="0" lang="es-CO" sz="1067" b="0" i="0" u="none" strike="noStrike" kern="1200" cap="none" spc="0" normalizeH="0" baseline="0" noProof="0" dirty="0" err="1">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ni_colombia</a:t>
            </a:r>
            <a:endParaRPr kumimoji="0" lang="es-CO" sz="933"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sp>
        <p:nvSpPr>
          <p:cNvPr id="6" name="Rectángulo 5">
            <a:extLst>
              <a:ext uri="{FF2B5EF4-FFF2-40B4-BE49-F238E27FC236}">
                <a16:creationId xmlns:a16="http://schemas.microsoft.com/office/drawing/2014/main" id="{4E7017C2-A93A-435C-9E14-A6A5AE0E0046}"/>
              </a:ext>
            </a:extLst>
          </p:cNvPr>
          <p:cNvSpPr/>
          <p:nvPr/>
        </p:nvSpPr>
        <p:spPr>
          <a:xfrm>
            <a:off x="-13892" y="753215"/>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l fin de la pobreza</a:t>
            </a:r>
          </a:p>
        </p:txBody>
      </p:sp>
    </p:spTree>
    <p:extLst>
      <p:ext uri="{BB962C8B-B14F-4D97-AF65-F5344CB8AC3E}">
        <p14:creationId xmlns:p14="http://schemas.microsoft.com/office/powerpoint/2010/main" val="367281381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632282" y="2976601"/>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chemeClr val="tx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12125" y="4021820"/>
            <a:ext cx="3306143"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17.17</a:t>
            </a:r>
          </a:p>
          <a:p>
            <a:pPr algn="ctr" defTabSz="1219170">
              <a:buClr>
                <a:srgbClr val="000000"/>
              </a:buClr>
            </a:pPr>
            <a:r>
              <a:rPr lang="es-MX" sz="1200" kern="0" dirty="0">
                <a:solidFill>
                  <a:srgbClr val="000000"/>
                </a:solidFill>
                <a:latin typeface="Century Gothic" panose="020B0502020202020204" pitchFamily="34" charset="0"/>
                <a:cs typeface="Arial"/>
              </a:rPr>
              <a:t>Alentar y promover la constitución de alianzas eficaces en las esferas pública, público-privada y de la sociedad civil aprovechando la experiencia y las estrategias de obtención de recursos de las asociaciones.</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320344"/>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está comprometida con la promoción de la participación comunitaria y el control social en los proyectos de infraestructura. </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46898" y="3002031"/>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88729" y="3078523"/>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121889" y="3608829"/>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27</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628025" y="2506134"/>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76358" y="2964317"/>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721630" y="3513721"/>
            <a:ext cx="2844077" cy="553998"/>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17. ALIANZAS PARA LOGRAR LOS OBJETIVOS</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77271" y="2922295"/>
            <a:ext cx="3046355" cy="2643261"/>
            <a:chOff x="334963" y="1838325"/>
            <a:chExt cx="2484437" cy="2892907"/>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bwMode="auto">
            <a:xfrm>
              <a:off x="334963" y="1843088"/>
              <a:ext cx="2484437" cy="2888144"/>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818268" y="2514286"/>
            <a:ext cx="921916" cy="837485"/>
          </a:xfrm>
          <a:prstGeom prst="ellipse">
            <a:avLst/>
          </a:prstGeom>
          <a:ln w="38100">
            <a:noFill/>
          </a:ln>
        </p:spPr>
      </p:pic>
      <p:sp>
        <p:nvSpPr>
          <p:cNvPr id="30" name="Google Shape;438;p68">
            <a:extLst>
              <a:ext uri="{FF2B5EF4-FFF2-40B4-BE49-F238E27FC236}">
                <a16:creationId xmlns:a16="http://schemas.microsoft.com/office/drawing/2014/main" id="{83ED8BBC-3D66-4E05-9291-3AA1842E6F14}"/>
              </a:ext>
            </a:extLst>
          </p:cNvPr>
          <p:cNvSpPr txBox="1"/>
          <p:nvPr/>
        </p:nvSpPr>
        <p:spPr>
          <a:xfrm>
            <a:off x="8259242" y="3487717"/>
            <a:ext cx="3438637"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endParaRPr lang="es-MX" sz="1500" b="1" kern="0" dirty="0">
              <a:solidFill>
                <a:srgbClr val="000000"/>
              </a:solidFill>
              <a:latin typeface="Century Gothic" panose="020B0502020202020204" pitchFamily="34" charset="0"/>
              <a:cs typeface="Arial"/>
              <a:sym typeface="Economica"/>
            </a:endParaRPr>
          </a:p>
        </p:txBody>
      </p:sp>
      <p:sp>
        <p:nvSpPr>
          <p:cNvPr id="31" name="Rectángulo 30">
            <a:extLst>
              <a:ext uri="{FF2B5EF4-FFF2-40B4-BE49-F238E27FC236}">
                <a16:creationId xmlns:a16="http://schemas.microsoft.com/office/drawing/2014/main" id="{306FF2DE-1188-4546-BB50-CFC0B5A8C8A8}"/>
              </a:ext>
            </a:extLst>
          </p:cNvPr>
          <p:cNvSpPr/>
          <p:nvPr/>
        </p:nvSpPr>
        <p:spPr>
          <a:xfrm>
            <a:off x="8585794" y="4126173"/>
            <a:ext cx="2829308" cy="892552"/>
          </a:xfrm>
          <a:prstGeom prst="rect">
            <a:avLst/>
          </a:prstGeom>
        </p:spPr>
        <p:txBody>
          <a:bodyPr wrap="square">
            <a:spAutoFit/>
          </a:bodyPr>
          <a:lstStyle/>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b="1" kern="0" dirty="0">
                <a:solidFill>
                  <a:srgbClr val="000000"/>
                </a:solidFill>
                <a:latin typeface="Century Gothic" panose="020B0502020202020204" pitchFamily="34" charset="0"/>
                <a:cs typeface="Arial"/>
                <a:sym typeface="Arial"/>
              </a:rPr>
              <a:t>  </a:t>
            </a:r>
            <a:endParaRPr lang="en-US" sz="1300" b="1" kern="0" dirty="0">
              <a:solidFill>
                <a:srgbClr val="000000"/>
              </a:solidFill>
              <a:latin typeface="Century Gothic" panose="020B0502020202020204" pitchFamily="34" charset="0"/>
              <a:cs typeface="Arial"/>
              <a:sym typeface="Arial"/>
            </a:endParaRPr>
          </a:p>
        </p:txBody>
      </p:sp>
      <p:sp>
        <p:nvSpPr>
          <p:cNvPr id="2" name="Rectángulo 1">
            <a:extLst>
              <a:ext uri="{FF2B5EF4-FFF2-40B4-BE49-F238E27FC236}">
                <a16:creationId xmlns:a16="http://schemas.microsoft.com/office/drawing/2014/main" id="{53C79405-2D46-4950-890A-43ACE1B8D8F0}"/>
              </a:ext>
            </a:extLst>
          </p:cNvPr>
          <p:cNvSpPr/>
          <p:nvPr/>
        </p:nvSpPr>
        <p:spPr>
          <a:xfrm>
            <a:off x="1121889" y="4281253"/>
            <a:ext cx="2857404" cy="1200329"/>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Toda persona tiene derecho a tomar parte libremente en la vida cultural de la comunidad, y a participar en el progreso y en los beneficios que de él resulten.</a:t>
            </a:r>
          </a:p>
          <a:p>
            <a:pPr algn="ctr" defTabSz="1219170">
              <a:buClr>
                <a:srgbClr val="000000"/>
              </a:buClr>
            </a:pPr>
            <a:endParaRPr lang="es-CO" sz="1200" kern="0" dirty="0">
              <a:solidFill>
                <a:srgbClr val="000000"/>
              </a:solidFill>
              <a:latin typeface="Century Gothic" panose="020B0502020202020204" pitchFamily="34" charset="0"/>
              <a:cs typeface="Arial"/>
              <a:sym typeface="Arial"/>
            </a:endParaRPr>
          </a:p>
        </p:txBody>
      </p:sp>
      <p:sp>
        <p:nvSpPr>
          <p:cNvPr id="34" name="Rectángulo 33">
            <a:extLst>
              <a:ext uri="{FF2B5EF4-FFF2-40B4-BE49-F238E27FC236}">
                <a16:creationId xmlns:a16="http://schemas.microsoft.com/office/drawing/2014/main" id="{66C8BD29-789F-410F-9C23-72905B71C826}"/>
              </a:ext>
            </a:extLst>
          </p:cNvPr>
          <p:cNvSpPr/>
          <p:nvPr/>
        </p:nvSpPr>
        <p:spPr>
          <a:xfrm>
            <a:off x="8616161" y="2985203"/>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pic>
        <p:nvPicPr>
          <p:cNvPr id="35" name="Picture 24" descr="Resultado de imagen para ods 17 alianzas para lograr los objetivos">
            <a:extLst>
              <a:ext uri="{FF2B5EF4-FFF2-40B4-BE49-F238E27FC236}">
                <a16:creationId xmlns:a16="http://schemas.microsoft.com/office/drawing/2014/main" id="{9E422ACC-4D89-48F7-9F56-D98F6B98CBA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5929" r="4093" b="11586"/>
          <a:stretch/>
        </p:blipFill>
        <p:spPr bwMode="auto">
          <a:xfrm>
            <a:off x="4296610" y="2467960"/>
            <a:ext cx="850040" cy="835272"/>
          </a:xfrm>
          <a:prstGeom prst="ellipse">
            <a:avLst/>
          </a:prstGeom>
          <a:noFill/>
          <a:extLst>
            <a:ext uri="{909E8E84-426E-40DD-AFC4-6F175D3DCCD1}">
              <a14:hiddenFill xmlns:a14="http://schemas.microsoft.com/office/drawing/2010/main">
                <a:solidFill>
                  <a:srgbClr val="FFFFFF"/>
                </a:solidFill>
              </a14:hiddenFill>
            </a:ext>
          </a:extLst>
        </p:spPr>
      </p:pic>
      <p:sp>
        <p:nvSpPr>
          <p:cNvPr id="36" name="Rectángulo 35">
            <a:extLst>
              <a:ext uri="{FF2B5EF4-FFF2-40B4-BE49-F238E27FC236}">
                <a16:creationId xmlns:a16="http://schemas.microsoft.com/office/drawing/2014/main" id="{D1E322B1-327A-457D-9E19-F74699530988}"/>
              </a:ext>
            </a:extLst>
          </p:cNvPr>
          <p:cNvSpPr/>
          <p:nvPr/>
        </p:nvSpPr>
        <p:spPr>
          <a:xfrm>
            <a:off x="-13892" y="1174373"/>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7" name="Rectángulo 36">
            <a:extLst>
              <a:ext uri="{FF2B5EF4-FFF2-40B4-BE49-F238E27FC236}">
                <a16:creationId xmlns:a16="http://schemas.microsoft.com/office/drawing/2014/main" id="{9A459EB1-492E-48B6-A4C6-69F8D85DB7B1}"/>
              </a:ext>
            </a:extLst>
          </p:cNvPr>
          <p:cNvSpPr/>
          <p:nvPr/>
        </p:nvSpPr>
        <p:spPr>
          <a:xfrm>
            <a:off x="8557756" y="3711556"/>
            <a:ext cx="2965869" cy="800219"/>
          </a:xfrm>
          <a:prstGeom prst="rect">
            <a:avLst/>
          </a:prstGeom>
        </p:spPr>
        <p:txBody>
          <a:bodyPr wrap="square">
            <a:spAutoFit/>
          </a:bodyPr>
          <a:lstStyle/>
          <a:p>
            <a:pPr lvl="0" algn="ctr" defTabSz="685800">
              <a:defRPr/>
            </a:pPr>
            <a:r>
              <a:rPr lang="es-CO" sz="1100" dirty="0">
                <a:solidFill>
                  <a:prstClr val="black">
                    <a:lumMod val="95000"/>
                    <a:lumOff val="5000"/>
                  </a:prstClr>
                </a:solidFill>
                <a:latin typeface="Century Gothic" panose="020B0502020202020204" pitchFamily="34" charset="0"/>
                <a:cs typeface="Arial" panose="020B0604020202020204" pitchFamily="34" charset="0"/>
                <a:sym typeface="Arial"/>
              </a:rPr>
              <a:t>87 oficinas fijas y satélites y, 59 oficinas móviles de </a:t>
            </a:r>
            <a:r>
              <a:rPr lang="es-CO" sz="1200" b="1" dirty="0">
                <a:solidFill>
                  <a:prstClr val="black">
                    <a:lumMod val="95000"/>
                    <a:lumOff val="5000"/>
                  </a:prstClr>
                </a:solidFill>
                <a:latin typeface="Century Gothic" panose="020B0502020202020204" pitchFamily="34" charset="0"/>
                <a:cs typeface="Arial" panose="020B0604020202020204" pitchFamily="34" charset="0"/>
                <a:sym typeface="Arial"/>
              </a:rPr>
              <a:t>los proyectos 4G</a:t>
            </a:r>
          </a:p>
          <a:p>
            <a:pPr lvl="0" algn="ctr" defTabSz="685800">
              <a:defRPr/>
            </a:pPr>
            <a:r>
              <a:rPr lang="es-CO" sz="1200" b="1" dirty="0">
                <a:solidFill>
                  <a:srgbClr val="222222"/>
                </a:solidFill>
                <a:latin typeface="Century Gothic" panose="020B0502020202020204" pitchFamily="34" charset="0"/>
                <a:cs typeface="Arial" panose="020B0604020202020204" pitchFamily="34" charset="0"/>
                <a:sym typeface="Arial"/>
              </a:rPr>
              <a:t>28.756 usuarios atendidos </a:t>
            </a:r>
            <a:r>
              <a:rPr lang="es-CO" sz="1100" dirty="0">
                <a:solidFill>
                  <a:prstClr val="black">
                    <a:lumMod val="95000"/>
                    <a:lumOff val="5000"/>
                  </a:prstClr>
                </a:solidFill>
                <a:latin typeface="Century Gothic" panose="020B0502020202020204" pitchFamily="34" charset="0"/>
                <a:cs typeface="Arial" panose="020B0604020202020204" pitchFamily="34" charset="0"/>
                <a:sym typeface="Arial"/>
              </a:rPr>
              <a:t>en los sistemas de atención. </a:t>
            </a:r>
            <a:endParaRPr lang="en-US" sz="1100" dirty="0">
              <a:solidFill>
                <a:prstClr val="black">
                  <a:lumMod val="95000"/>
                  <a:lumOff val="5000"/>
                </a:prstClr>
              </a:solidFill>
              <a:latin typeface="Century Gothic" panose="020B0502020202020204" pitchFamily="34" charset="0"/>
              <a:cs typeface="Arial" panose="020B0604020202020204" pitchFamily="34" charset="0"/>
              <a:sym typeface="Arial"/>
            </a:endParaRPr>
          </a:p>
        </p:txBody>
      </p:sp>
      <p:sp>
        <p:nvSpPr>
          <p:cNvPr id="38" name="Rectángulo 37">
            <a:extLst>
              <a:ext uri="{FF2B5EF4-FFF2-40B4-BE49-F238E27FC236}">
                <a16:creationId xmlns:a16="http://schemas.microsoft.com/office/drawing/2014/main" id="{E5BFF527-5ED6-4D9A-A89E-6A96FC6D8F91}"/>
              </a:ext>
            </a:extLst>
          </p:cNvPr>
          <p:cNvSpPr/>
          <p:nvPr/>
        </p:nvSpPr>
        <p:spPr>
          <a:xfrm>
            <a:off x="8557756" y="4691218"/>
            <a:ext cx="2937832" cy="646331"/>
          </a:xfrm>
          <a:prstGeom prst="rect">
            <a:avLst/>
          </a:prstGeom>
        </p:spPr>
        <p:txBody>
          <a:bodyPr wrap="square">
            <a:spAutoFit/>
          </a:bodyPr>
          <a:lstStyle/>
          <a:p>
            <a:pPr lvl="0" algn="ctr">
              <a:defRPr/>
            </a:pPr>
            <a:r>
              <a:rPr lang="es-CO" sz="1200" b="1" dirty="0">
                <a:solidFill>
                  <a:prstClr val="black">
                    <a:lumMod val="95000"/>
                    <a:lumOff val="5000"/>
                  </a:prstClr>
                </a:solidFill>
                <a:latin typeface="Century Gothic" panose="020B0502020202020204" pitchFamily="34" charset="0"/>
              </a:rPr>
              <a:t>1.522  Socializaciones</a:t>
            </a:r>
            <a:r>
              <a:rPr lang="es-CO" sz="1400" b="1" dirty="0">
                <a:solidFill>
                  <a:prstClr val="black">
                    <a:lumMod val="95000"/>
                    <a:lumOff val="5000"/>
                  </a:prstClr>
                </a:solidFill>
                <a:latin typeface="Century Gothic" panose="020B0502020202020204" pitchFamily="34" charset="0"/>
              </a:rPr>
              <a:t> </a:t>
            </a:r>
            <a:r>
              <a:rPr lang="es-CO" sz="1100" dirty="0">
                <a:solidFill>
                  <a:prstClr val="black">
                    <a:lumMod val="95000"/>
                    <a:lumOff val="5000"/>
                  </a:prstClr>
                </a:solidFill>
                <a:latin typeface="Century Gothic" panose="020B0502020202020204" pitchFamily="34" charset="0"/>
              </a:rPr>
              <a:t>con comunidades realizadas en proyectos 4G</a:t>
            </a:r>
            <a:endParaRPr lang="en-US" sz="1100" dirty="0">
              <a:solidFill>
                <a:prstClr val="black">
                  <a:lumMod val="95000"/>
                  <a:lumOff val="5000"/>
                </a:prstClr>
              </a:solidFill>
              <a:latin typeface="Century Gothic" panose="020B0502020202020204" pitchFamily="34" charset="0"/>
            </a:endParaRPr>
          </a:p>
        </p:txBody>
      </p:sp>
    </p:spTree>
    <p:extLst>
      <p:ext uri="{BB962C8B-B14F-4D97-AF65-F5344CB8AC3E}">
        <p14:creationId xmlns:p14="http://schemas.microsoft.com/office/powerpoint/2010/main" val="8486183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213"/>
        <p:cNvGrpSpPr/>
        <p:nvPr/>
      </p:nvGrpSpPr>
      <p:grpSpPr>
        <a:xfrm>
          <a:off x="0" y="0"/>
          <a:ext cx="0" cy="0"/>
          <a:chOff x="0" y="0"/>
          <a:chExt cx="0" cy="0"/>
        </a:xfrm>
      </p:grpSpPr>
      <p:sp>
        <p:nvSpPr>
          <p:cNvPr id="18" name="Título 2">
            <a:extLst>
              <a:ext uri="{FF2B5EF4-FFF2-40B4-BE49-F238E27FC236}">
                <a16:creationId xmlns:a16="http://schemas.microsoft.com/office/drawing/2014/main" id="{1E68E6B6-B6E3-4ECE-8E85-FF52840278CF}"/>
              </a:ext>
            </a:extLst>
          </p:cNvPr>
          <p:cNvSpPr txBox="1">
            <a:spLocks/>
          </p:cNvSpPr>
          <p:nvPr/>
        </p:nvSpPr>
        <p:spPr>
          <a:xfrm>
            <a:off x="-2" y="556200"/>
            <a:ext cx="6283843" cy="853597"/>
          </a:xfrm>
          <a:prstGeom prst="rect">
            <a:avLst/>
          </a:prstGeom>
          <a:noFill/>
          <a:ln>
            <a:noFill/>
          </a:ln>
        </p:spPr>
        <p:txBody>
          <a:bodyPr spcFirstLastPara="1" wrap="square" lIns="91433" tIns="45700" rIns="91433" bIns="45700" anchor="ctr" anchorCtr="0"/>
          <a:lstStyle>
            <a:defPPr marR="0" lvl="0" algn="l" rtl="0">
              <a:lnSpc>
                <a:spcPct val="100000"/>
              </a:lnSpc>
              <a:spcBef>
                <a:spcPts val="0"/>
              </a:spcBef>
              <a:spcAft>
                <a:spcPts val="0"/>
              </a:spcAft>
            </a:defPPr>
            <a:lvl1pPr marR="0" lvl="0" algn="l" rtl="0">
              <a:lnSpc>
                <a:spcPct val="90000"/>
              </a:lnSpc>
              <a:spcBef>
                <a:spcPts val="0"/>
              </a:spcBef>
              <a:spcAft>
                <a:spcPts val="0"/>
              </a:spcAft>
              <a:buClr>
                <a:srgbClr val="FFFFFF"/>
              </a:buClr>
              <a:buSzPts val="1400"/>
              <a:buFont typeface="Work Sans SemiBold"/>
              <a:buNone/>
              <a:defRPr sz="3000" b="0" i="0" u="none" strike="noStrike" cap="none">
                <a:solidFill>
                  <a:srgbClr val="0066CD"/>
                </a:solidFill>
                <a:latin typeface="Work Sans Light"/>
                <a:ea typeface="Work Sans Light"/>
                <a:cs typeface="Work Sans Light"/>
                <a:sym typeface="Work Sans Light"/>
              </a:defRPr>
            </a:lvl1pPr>
            <a:lvl2pPr marR="0" lvl="1"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2pPr>
            <a:lvl3pPr marR="0" lvl="2"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3pPr>
            <a:lvl4pPr marR="0" lvl="3"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4pPr>
            <a:lvl5pPr marR="0" lvl="4"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5pPr>
            <a:lvl6pPr marR="0" lvl="5"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6pPr>
            <a:lvl7pPr marR="0" lvl="6"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7pPr>
            <a:lvl8pPr marR="0" lvl="7"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8pPr>
            <a:lvl9pPr marR="0" lvl="8" algn="l" rtl="0">
              <a:lnSpc>
                <a:spcPct val="100000"/>
              </a:lnSpc>
              <a:spcBef>
                <a:spcPts val="0"/>
              </a:spcBef>
              <a:spcAft>
                <a:spcPts val="0"/>
              </a:spcAft>
              <a:buClr>
                <a:srgbClr val="FFFFFF"/>
              </a:buClr>
              <a:buSzPts val="1100"/>
              <a:buFont typeface="Arial"/>
              <a:buNone/>
              <a:defRPr sz="1400" b="0" i="0" u="none" strike="noStrike" cap="none">
                <a:solidFill>
                  <a:srgbClr val="FFFFFF"/>
                </a:solidFill>
                <a:latin typeface="Arial"/>
                <a:ea typeface="Arial"/>
                <a:cs typeface="Arial"/>
                <a:sym typeface="Arial"/>
              </a:defRPr>
            </a:lvl9pPr>
          </a:lstStyle>
          <a:p>
            <a:pPr algn="r"/>
            <a:r>
              <a:rPr lang="es-CO" sz="1600" b="1" kern="0" dirty="0">
                <a:solidFill>
                  <a:schemeClr val="tx1"/>
                </a:solidFill>
                <a:latin typeface="Century Gothic" panose="020B0502020202020204" pitchFamily="34" charset="0"/>
                <a:ea typeface="+mn-ea"/>
                <a:cs typeface="Arial"/>
              </a:rPr>
              <a:t>Algunos casos de éxito de Transversal del </a:t>
            </a:r>
            <a:r>
              <a:rPr lang="es-CO" sz="1600" b="1" kern="0" dirty="0" err="1">
                <a:solidFill>
                  <a:schemeClr val="tx1"/>
                </a:solidFill>
                <a:latin typeface="Century Gothic" panose="020B0502020202020204" pitchFamily="34" charset="0"/>
                <a:ea typeface="+mn-ea"/>
                <a:cs typeface="Arial"/>
              </a:rPr>
              <a:t>Sisga</a:t>
            </a:r>
            <a:r>
              <a:rPr lang="es-CO" sz="1600" b="1" kern="0" dirty="0">
                <a:solidFill>
                  <a:schemeClr val="tx1"/>
                </a:solidFill>
                <a:latin typeface="Century Gothic" panose="020B0502020202020204" pitchFamily="34" charset="0"/>
                <a:ea typeface="+mn-ea"/>
                <a:cs typeface="Arial"/>
              </a:rPr>
              <a:t> …</a:t>
            </a:r>
          </a:p>
        </p:txBody>
      </p:sp>
      <p:pic>
        <p:nvPicPr>
          <p:cNvPr id="2" name="Imagen 1">
            <a:extLst>
              <a:ext uri="{FF2B5EF4-FFF2-40B4-BE49-F238E27FC236}">
                <a16:creationId xmlns:a16="http://schemas.microsoft.com/office/drawing/2014/main" id="{B2845849-E562-4AED-90DF-99FEA136F149}"/>
              </a:ext>
            </a:extLst>
          </p:cNvPr>
          <p:cNvPicPr>
            <a:picLocks noChangeAspect="1"/>
          </p:cNvPicPr>
          <p:nvPr/>
        </p:nvPicPr>
        <p:blipFill rotWithShape="1">
          <a:blip r:embed="rId3"/>
          <a:srcRect l="37330"/>
          <a:stretch/>
        </p:blipFill>
        <p:spPr>
          <a:xfrm>
            <a:off x="842322" y="1356112"/>
            <a:ext cx="2046796" cy="1836225"/>
          </a:xfrm>
          <a:prstGeom prst="ellipse">
            <a:avLst/>
          </a:prstGeom>
        </p:spPr>
      </p:pic>
      <p:sp>
        <p:nvSpPr>
          <p:cNvPr id="3" name="Rectángulo 2">
            <a:extLst>
              <a:ext uri="{FF2B5EF4-FFF2-40B4-BE49-F238E27FC236}">
                <a16:creationId xmlns:a16="http://schemas.microsoft.com/office/drawing/2014/main" id="{7B8DD5A4-17CD-450A-9F1C-4B3300FFDAF8}"/>
              </a:ext>
            </a:extLst>
          </p:cNvPr>
          <p:cNvSpPr/>
          <p:nvPr/>
        </p:nvSpPr>
        <p:spPr>
          <a:xfrm>
            <a:off x="842321" y="3192337"/>
            <a:ext cx="2439803" cy="1200329"/>
          </a:xfrm>
          <a:prstGeom prst="rect">
            <a:avLst/>
          </a:prstGeom>
        </p:spPr>
        <p:txBody>
          <a:bodyPr wrap="square">
            <a:spAutoFit/>
          </a:bodyPr>
          <a:lstStyle/>
          <a:p>
            <a:pPr algn="ctr"/>
            <a:r>
              <a:rPr lang="es-CO" sz="2400" b="1" dirty="0">
                <a:solidFill>
                  <a:srgbClr val="F76F09"/>
                </a:solidFill>
                <a:latin typeface="Century Gothic" panose="020B0502020202020204" pitchFamily="34" charset="0"/>
              </a:rPr>
              <a:t>Norberto Martínez</a:t>
            </a:r>
          </a:p>
          <a:p>
            <a:pPr algn="ctr"/>
            <a:r>
              <a:rPr lang="es-CO" sz="2400" b="1" dirty="0">
                <a:solidFill>
                  <a:srgbClr val="F76F09"/>
                </a:solidFill>
                <a:latin typeface="Century Gothic" panose="020B0502020202020204" pitchFamily="34" charset="0"/>
              </a:rPr>
              <a:t>Garagoa</a:t>
            </a:r>
          </a:p>
        </p:txBody>
      </p:sp>
      <p:sp>
        <p:nvSpPr>
          <p:cNvPr id="5" name="Rectángulo 4">
            <a:extLst>
              <a:ext uri="{FF2B5EF4-FFF2-40B4-BE49-F238E27FC236}">
                <a16:creationId xmlns:a16="http://schemas.microsoft.com/office/drawing/2014/main" id="{FC043340-2595-47CD-8CF5-CF1209D1670E}"/>
              </a:ext>
            </a:extLst>
          </p:cNvPr>
          <p:cNvSpPr/>
          <p:nvPr/>
        </p:nvSpPr>
        <p:spPr>
          <a:xfrm>
            <a:off x="4500744" y="4593947"/>
            <a:ext cx="3675421" cy="1815882"/>
          </a:xfrm>
          <a:prstGeom prst="rect">
            <a:avLst/>
          </a:prstGeom>
        </p:spPr>
        <p:txBody>
          <a:bodyPr wrap="square">
            <a:spAutoFit/>
          </a:bodyPr>
          <a:lstStyle/>
          <a:p>
            <a:pPr algn="just"/>
            <a:r>
              <a:rPr lang="es-CO" sz="1400" b="1" i="1" dirty="0">
                <a:solidFill>
                  <a:srgbClr val="010407"/>
                </a:solidFill>
                <a:latin typeface="Century Gothic" panose="020B0502020202020204" pitchFamily="34" charset="0"/>
              </a:rPr>
              <a:t>“Propietario de Gimnasio. Antiguamente teníamos inconvenientes con la vía por su estado. No teníamos andenes. Gracias a la Transversal del Sisga tenemos buenos andenes, aprovechamos los andenes para salir con la familia los fines de semana”. </a:t>
            </a:r>
          </a:p>
          <a:p>
            <a:pPr algn="just"/>
            <a:endParaRPr lang="es-CO" sz="1400" b="1" i="1" dirty="0">
              <a:solidFill>
                <a:srgbClr val="010407"/>
              </a:solidFill>
              <a:latin typeface="Century Gothic" panose="020B0502020202020204" pitchFamily="34" charset="0"/>
            </a:endParaRPr>
          </a:p>
        </p:txBody>
      </p:sp>
      <p:pic>
        <p:nvPicPr>
          <p:cNvPr id="7" name="Imagen 6">
            <a:extLst>
              <a:ext uri="{FF2B5EF4-FFF2-40B4-BE49-F238E27FC236}">
                <a16:creationId xmlns:a16="http://schemas.microsoft.com/office/drawing/2014/main" id="{A45619B8-84E8-46A3-AB39-E86159845710}"/>
              </a:ext>
            </a:extLst>
          </p:cNvPr>
          <p:cNvPicPr>
            <a:picLocks noChangeAspect="1"/>
          </p:cNvPicPr>
          <p:nvPr/>
        </p:nvPicPr>
        <p:blipFill rotWithShape="1">
          <a:blip r:embed="rId4"/>
          <a:srcRect l="23879" t="8114" r="43509" b="39799"/>
          <a:stretch/>
        </p:blipFill>
        <p:spPr>
          <a:xfrm>
            <a:off x="5124503" y="1356112"/>
            <a:ext cx="2044831" cy="1836225"/>
          </a:xfrm>
          <a:prstGeom prst="ellipse">
            <a:avLst/>
          </a:prstGeom>
        </p:spPr>
      </p:pic>
      <p:sp>
        <p:nvSpPr>
          <p:cNvPr id="13" name="Rectángulo 12">
            <a:extLst>
              <a:ext uri="{FF2B5EF4-FFF2-40B4-BE49-F238E27FC236}">
                <a16:creationId xmlns:a16="http://schemas.microsoft.com/office/drawing/2014/main" id="{007C1012-A5D0-4A65-B21B-31DD6B40E201}"/>
              </a:ext>
            </a:extLst>
          </p:cNvPr>
          <p:cNvSpPr/>
          <p:nvPr/>
        </p:nvSpPr>
        <p:spPr>
          <a:xfrm>
            <a:off x="5124503" y="3250165"/>
            <a:ext cx="2439803" cy="830997"/>
          </a:xfrm>
          <a:prstGeom prst="rect">
            <a:avLst/>
          </a:prstGeom>
        </p:spPr>
        <p:txBody>
          <a:bodyPr wrap="square">
            <a:spAutoFit/>
          </a:bodyPr>
          <a:lstStyle/>
          <a:p>
            <a:pPr algn="ctr"/>
            <a:r>
              <a:rPr lang="es-CO" sz="2400" b="1" dirty="0">
                <a:solidFill>
                  <a:srgbClr val="F76F09"/>
                </a:solidFill>
                <a:latin typeface="Century Gothic" panose="020B0502020202020204" pitchFamily="34" charset="0"/>
              </a:rPr>
              <a:t>Orlando </a:t>
            </a:r>
            <a:r>
              <a:rPr lang="es-CO" sz="2400" b="1" dirty="0" err="1">
                <a:solidFill>
                  <a:srgbClr val="F76F09"/>
                </a:solidFill>
                <a:latin typeface="Century Gothic" panose="020B0502020202020204" pitchFamily="34" charset="0"/>
              </a:rPr>
              <a:t>Chigüazuque</a:t>
            </a:r>
            <a:endParaRPr lang="es-CO" sz="2400" b="1" dirty="0">
              <a:solidFill>
                <a:srgbClr val="F76F09"/>
              </a:solidFill>
              <a:latin typeface="Century Gothic" panose="020B0502020202020204" pitchFamily="34" charset="0"/>
            </a:endParaRPr>
          </a:p>
        </p:txBody>
      </p:sp>
      <p:sp>
        <p:nvSpPr>
          <p:cNvPr id="14" name="Rectángulo 13">
            <a:extLst>
              <a:ext uri="{FF2B5EF4-FFF2-40B4-BE49-F238E27FC236}">
                <a16:creationId xmlns:a16="http://schemas.microsoft.com/office/drawing/2014/main" id="{AB8A8922-EAC7-4A32-A27B-824551EC21A0}"/>
              </a:ext>
            </a:extLst>
          </p:cNvPr>
          <p:cNvSpPr/>
          <p:nvPr/>
        </p:nvSpPr>
        <p:spPr>
          <a:xfrm>
            <a:off x="328157" y="4590978"/>
            <a:ext cx="3976047" cy="1384995"/>
          </a:xfrm>
          <a:prstGeom prst="rect">
            <a:avLst/>
          </a:prstGeom>
        </p:spPr>
        <p:txBody>
          <a:bodyPr wrap="square">
            <a:spAutoFit/>
          </a:bodyPr>
          <a:lstStyle/>
          <a:p>
            <a:pPr algn="just"/>
            <a:r>
              <a:rPr lang="es-CO" sz="1400" b="1" i="1" dirty="0">
                <a:solidFill>
                  <a:srgbClr val="010407"/>
                </a:solidFill>
                <a:latin typeface="Century Gothic" panose="020B0502020202020204" pitchFamily="34" charset="0"/>
              </a:rPr>
              <a:t>“Gracias a la transversal del Sisga he podido cumplir mis sueños, he surtido mi negocio, he generado empleo, me he dado cuenta que ha llegado gente nueva, han llegado turistas, he podido pagar mis deudas con el arreglo de esta vía.”</a:t>
            </a:r>
          </a:p>
        </p:txBody>
      </p:sp>
      <p:pic>
        <p:nvPicPr>
          <p:cNvPr id="10" name="Imagen 9">
            <a:extLst>
              <a:ext uri="{FF2B5EF4-FFF2-40B4-BE49-F238E27FC236}">
                <a16:creationId xmlns:a16="http://schemas.microsoft.com/office/drawing/2014/main" id="{A148EF29-71B2-4C4B-A14B-17654400B4D0}"/>
              </a:ext>
            </a:extLst>
          </p:cNvPr>
          <p:cNvPicPr>
            <a:picLocks noChangeAspect="1"/>
          </p:cNvPicPr>
          <p:nvPr/>
        </p:nvPicPr>
        <p:blipFill rotWithShape="1">
          <a:blip r:embed="rId5"/>
          <a:srcRect l="23697" t="11126" r="28060" b="24365"/>
          <a:stretch/>
        </p:blipFill>
        <p:spPr>
          <a:xfrm>
            <a:off x="9110776" y="1409797"/>
            <a:ext cx="2049920" cy="1893300"/>
          </a:xfrm>
          <a:prstGeom prst="ellipse">
            <a:avLst/>
          </a:prstGeom>
        </p:spPr>
      </p:pic>
      <p:sp>
        <p:nvSpPr>
          <p:cNvPr id="17" name="Rectángulo 16">
            <a:extLst>
              <a:ext uri="{FF2B5EF4-FFF2-40B4-BE49-F238E27FC236}">
                <a16:creationId xmlns:a16="http://schemas.microsoft.com/office/drawing/2014/main" id="{384892F3-A2F5-4731-8588-214A33C28FB8}"/>
              </a:ext>
            </a:extLst>
          </p:cNvPr>
          <p:cNvSpPr/>
          <p:nvPr/>
        </p:nvSpPr>
        <p:spPr>
          <a:xfrm>
            <a:off x="8689418" y="3303098"/>
            <a:ext cx="2727791" cy="830997"/>
          </a:xfrm>
          <a:prstGeom prst="rect">
            <a:avLst/>
          </a:prstGeom>
        </p:spPr>
        <p:txBody>
          <a:bodyPr wrap="square">
            <a:spAutoFit/>
          </a:bodyPr>
          <a:lstStyle/>
          <a:p>
            <a:pPr algn="ctr"/>
            <a:r>
              <a:rPr lang="es-CO" sz="2400" b="1" dirty="0">
                <a:solidFill>
                  <a:srgbClr val="F76F09"/>
                </a:solidFill>
                <a:latin typeface="Century Gothic" panose="020B0502020202020204" pitchFamily="34" charset="0"/>
              </a:rPr>
              <a:t>Víctor Miguel Cárdenas</a:t>
            </a:r>
          </a:p>
        </p:txBody>
      </p:sp>
      <p:sp>
        <p:nvSpPr>
          <p:cNvPr id="11" name="Rectángulo 10">
            <a:extLst>
              <a:ext uri="{FF2B5EF4-FFF2-40B4-BE49-F238E27FC236}">
                <a16:creationId xmlns:a16="http://schemas.microsoft.com/office/drawing/2014/main" id="{FBA2B14D-EFB1-4C90-8C1E-58F33E82FF30}"/>
              </a:ext>
            </a:extLst>
          </p:cNvPr>
          <p:cNvSpPr/>
          <p:nvPr/>
        </p:nvSpPr>
        <p:spPr>
          <a:xfrm>
            <a:off x="8569244" y="4601547"/>
            <a:ext cx="3622756" cy="1169551"/>
          </a:xfrm>
          <a:prstGeom prst="rect">
            <a:avLst/>
          </a:prstGeom>
        </p:spPr>
        <p:txBody>
          <a:bodyPr wrap="square">
            <a:spAutoFit/>
          </a:bodyPr>
          <a:lstStyle/>
          <a:p>
            <a:pPr algn="just"/>
            <a:r>
              <a:rPr lang="es-CO" sz="1400" b="1" i="1" dirty="0">
                <a:solidFill>
                  <a:srgbClr val="010407"/>
                </a:solidFill>
                <a:latin typeface="Century Gothic" panose="020B0502020202020204" pitchFamily="34" charset="0"/>
              </a:rPr>
              <a:t>“Gracias a que la Transversal ha hecho un mejoramiento de las vías se ha sentido el desarrollo no solo del perímetro urbano sino en general de todo el municipio de Machetá”. </a:t>
            </a:r>
          </a:p>
        </p:txBody>
      </p:sp>
    </p:spTree>
    <p:extLst>
      <p:ext uri="{BB962C8B-B14F-4D97-AF65-F5344CB8AC3E}">
        <p14:creationId xmlns:p14="http://schemas.microsoft.com/office/powerpoint/2010/main" val="14501453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upo 41">
            <a:extLst>
              <a:ext uri="{FF2B5EF4-FFF2-40B4-BE49-F238E27FC236}">
                <a16:creationId xmlns:a16="http://schemas.microsoft.com/office/drawing/2014/main" id="{CD106923-8D1D-43EB-9D98-CFB1D1B293A6}"/>
              </a:ext>
            </a:extLst>
          </p:cNvPr>
          <p:cNvGrpSpPr/>
          <p:nvPr/>
        </p:nvGrpSpPr>
        <p:grpSpPr>
          <a:xfrm>
            <a:off x="4631960" y="2976601"/>
            <a:ext cx="3046355" cy="2588955"/>
            <a:chOff x="334963" y="1838325"/>
            <a:chExt cx="2484437" cy="2833472"/>
          </a:xfrm>
        </p:grpSpPr>
        <p:grpSp>
          <p:nvGrpSpPr>
            <p:cNvPr id="43" name="Grupo 12">
              <a:extLst>
                <a:ext uri="{FF2B5EF4-FFF2-40B4-BE49-F238E27FC236}">
                  <a16:creationId xmlns:a16="http://schemas.microsoft.com/office/drawing/2014/main" id="{042071F0-E2F9-41D6-82A3-F2272FF21AC6}"/>
                </a:ext>
              </a:extLst>
            </p:cNvPr>
            <p:cNvGrpSpPr>
              <a:grpSpLocks/>
            </p:cNvGrpSpPr>
            <p:nvPr/>
          </p:nvGrpSpPr>
          <p:grpSpPr bwMode="auto">
            <a:xfrm>
              <a:off x="334963" y="1843088"/>
              <a:ext cx="2484437" cy="2828709"/>
              <a:chOff x="684214" y="2060575"/>
              <a:chExt cx="2232025" cy="2301233"/>
            </a:xfrm>
          </p:grpSpPr>
          <p:sp>
            <p:nvSpPr>
              <p:cNvPr id="45" name="Redondear rectángulo de esquina diagonal 1">
                <a:extLst>
                  <a:ext uri="{FF2B5EF4-FFF2-40B4-BE49-F238E27FC236}">
                    <a16:creationId xmlns:a16="http://schemas.microsoft.com/office/drawing/2014/main" id="{E83820BD-542E-470F-B95B-F3A4740643B4}"/>
                  </a:ext>
                </a:extLst>
              </p:cNvPr>
              <p:cNvSpPr/>
              <p:nvPr/>
            </p:nvSpPr>
            <p:spPr>
              <a:xfrm>
                <a:off x="684214" y="2060575"/>
                <a:ext cx="2232025" cy="2301233"/>
              </a:xfrm>
              <a:prstGeom prst="round2DiagRect">
                <a:avLst>
                  <a:gd name="adj1" fmla="val 19895"/>
                  <a:gd name="adj2" fmla="val 0"/>
                </a:avLst>
              </a:prstGeom>
              <a:solidFill>
                <a:srgbClr val="FCC4C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46" name="Redondear rectángulo de esquina diagonal 5">
                <a:extLst>
                  <a:ext uri="{FF2B5EF4-FFF2-40B4-BE49-F238E27FC236}">
                    <a16:creationId xmlns:a16="http://schemas.microsoft.com/office/drawing/2014/main" id="{345C5786-DB43-4579-B3CE-8EBF578FC4E5}"/>
                  </a:ext>
                </a:extLst>
              </p:cNvPr>
              <p:cNvSpPr/>
              <p:nvPr/>
            </p:nvSpPr>
            <p:spPr>
              <a:xfrm>
                <a:off x="684214" y="2060575"/>
                <a:ext cx="2232025" cy="997019"/>
              </a:xfrm>
              <a:prstGeom prst="round2DiagRect">
                <a:avLst>
                  <a:gd name="adj1" fmla="val 42065"/>
                  <a:gd name="adj2" fmla="val 0"/>
                </a:avLst>
              </a:prstGeom>
              <a:solidFill>
                <a:srgbClr val="FF616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44" name="Redondear rectángulo de esquina diagonal 20">
              <a:extLst>
                <a:ext uri="{FF2B5EF4-FFF2-40B4-BE49-F238E27FC236}">
                  <a16:creationId xmlns:a16="http://schemas.microsoft.com/office/drawing/2014/main" id="{DF4EE51A-2865-4885-9E3D-2B0CDB05588A}"/>
                </a:ext>
              </a:extLst>
            </p:cNvPr>
            <p:cNvSpPr/>
            <p:nvPr/>
          </p:nvSpPr>
          <p:spPr bwMode="auto">
            <a:xfrm>
              <a:off x="334963" y="1838325"/>
              <a:ext cx="2484437" cy="612775"/>
            </a:xfrm>
            <a:prstGeom prst="round2DiagRect">
              <a:avLst>
                <a:gd name="adj1" fmla="val 50000"/>
                <a:gd name="adj2" fmla="val 0"/>
              </a:avLst>
            </a:prstGeom>
            <a:solidFill>
              <a:srgbClr val="FF1B1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grpSp>
        <p:nvGrpSpPr>
          <p:cNvPr id="5" name="Grupo 4">
            <a:extLst>
              <a:ext uri="{FF2B5EF4-FFF2-40B4-BE49-F238E27FC236}">
                <a16:creationId xmlns:a16="http://schemas.microsoft.com/office/drawing/2014/main" id="{B48B6A5B-8551-4332-B884-2643EBA9BE4A}"/>
              </a:ext>
            </a:extLst>
          </p:cNvPr>
          <p:cNvGrpSpPr/>
          <p:nvPr/>
        </p:nvGrpSpPr>
        <p:grpSpPr>
          <a:xfrm>
            <a:off x="8240658" y="2853398"/>
            <a:ext cx="3046355" cy="2588955"/>
            <a:chOff x="334963" y="1838325"/>
            <a:chExt cx="2484437" cy="2833472"/>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bwMode="auto">
            <a:xfrm>
              <a:off x="334963" y="1843088"/>
              <a:ext cx="2484437" cy="2828709"/>
            </a:xfrm>
            <a:prstGeom prst="round2DiagRect">
              <a:avLst>
                <a:gd name="adj1" fmla="val 19895"/>
                <a:gd name="adj2" fmla="val 0"/>
              </a:avLst>
            </a:prstGeom>
            <a:solidFill>
              <a:schemeClr val="accent3">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contribuye en la igualdad de género y el empoderamiento de las mujeres que residen en las comunidades de los proyectos de concesión.</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46898" y="3002031"/>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88729" y="3078523"/>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121889" y="3608829"/>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2</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2"/>
          <a:stretch>
            <a:fillRect/>
          </a:stretch>
        </p:blipFill>
        <p:spPr>
          <a:xfrm>
            <a:off x="628025" y="2506134"/>
            <a:ext cx="862367" cy="781739"/>
          </a:xfrm>
          <a:prstGeom prst="ellipse">
            <a:avLst/>
          </a:prstGeom>
        </p:spPr>
      </p:pic>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3"/>
          <a:srcRect l="24259" r="20368" b="-7423"/>
          <a:stretch/>
        </p:blipFill>
        <p:spPr>
          <a:xfrm>
            <a:off x="7818268" y="2514286"/>
            <a:ext cx="921916" cy="837485"/>
          </a:xfrm>
          <a:prstGeom prst="ellipse">
            <a:avLst/>
          </a:prstGeom>
          <a:ln w="38100">
            <a:noFill/>
          </a:ln>
        </p:spPr>
      </p:pic>
      <p:sp>
        <p:nvSpPr>
          <p:cNvPr id="31" name="Rectángulo 30">
            <a:extLst>
              <a:ext uri="{FF2B5EF4-FFF2-40B4-BE49-F238E27FC236}">
                <a16:creationId xmlns:a16="http://schemas.microsoft.com/office/drawing/2014/main" id="{306FF2DE-1188-4546-BB50-CFC0B5A8C8A8}"/>
              </a:ext>
            </a:extLst>
          </p:cNvPr>
          <p:cNvSpPr/>
          <p:nvPr/>
        </p:nvSpPr>
        <p:spPr>
          <a:xfrm>
            <a:off x="8585794" y="4126173"/>
            <a:ext cx="2829308" cy="892552"/>
          </a:xfrm>
          <a:prstGeom prst="rect">
            <a:avLst/>
          </a:prstGeom>
        </p:spPr>
        <p:txBody>
          <a:bodyPr wrap="square">
            <a:spAutoFit/>
          </a:bodyPr>
          <a:lstStyle/>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b="1" kern="0" dirty="0">
                <a:solidFill>
                  <a:srgbClr val="000000"/>
                </a:solidFill>
                <a:latin typeface="Century Gothic" panose="020B0502020202020204" pitchFamily="34" charset="0"/>
                <a:cs typeface="Arial"/>
                <a:sym typeface="Arial"/>
              </a:rPr>
              <a:t>  </a:t>
            </a:r>
            <a:endParaRPr lang="en-US" sz="1300" b="1" kern="0" dirty="0">
              <a:solidFill>
                <a:srgbClr val="000000"/>
              </a:solidFill>
              <a:latin typeface="Century Gothic" panose="020B0502020202020204" pitchFamily="34" charset="0"/>
              <a:cs typeface="Arial"/>
              <a:sym typeface="Arial"/>
            </a:endParaRPr>
          </a:p>
        </p:txBody>
      </p:sp>
      <p:sp>
        <p:nvSpPr>
          <p:cNvPr id="2" name="Rectángulo 1">
            <a:extLst>
              <a:ext uri="{FF2B5EF4-FFF2-40B4-BE49-F238E27FC236}">
                <a16:creationId xmlns:a16="http://schemas.microsoft.com/office/drawing/2014/main" id="{53C79405-2D46-4950-890A-43ACE1B8D8F0}"/>
              </a:ext>
            </a:extLst>
          </p:cNvPr>
          <p:cNvSpPr/>
          <p:nvPr/>
        </p:nvSpPr>
        <p:spPr>
          <a:xfrm>
            <a:off x="1121889" y="4281253"/>
            <a:ext cx="2857404" cy="646331"/>
          </a:xfrm>
          <a:prstGeom prst="rect">
            <a:avLst/>
          </a:prstGeom>
        </p:spPr>
        <p:txBody>
          <a:bodyPr wrap="square">
            <a:spAutoFit/>
          </a:bodyPr>
          <a:lstStyle/>
          <a:p>
            <a:pPr algn="ctr" defTabSz="1219170">
              <a:buClr>
                <a:srgbClr val="000000"/>
              </a:buClr>
            </a:pPr>
            <a:r>
              <a:rPr lang="es-CO" sz="1200" kern="0" dirty="0">
                <a:solidFill>
                  <a:srgbClr val="000000"/>
                </a:solidFill>
                <a:latin typeface="Century Gothic" panose="020B0502020202020204" pitchFamily="34" charset="0"/>
                <a:cs typeface="Arial"/>
                <a:sym typeface="Arial"/>
              </a:rPr>
              <a:t>Toda persona tiene derecho a la propiedad, individual y colectivamente.</a:t>
            </a:r>
          </a:p>
        </p:txBody>
      </p:sp>
      <p:sp>
        <p:nvSpPr>
          <p:cNvPr id="34" name="Rectángulo 33">
            <a:extLst>
              <a:ext uri="{FF2B5EF4-FFF2-40B4-BE49-F238E27FC236}">
                <a16:creationId xmlns:a16="http://schemas.microsoft.com/office/drawing/2014/main" id="{66C8BD29-789F-410F-9C23-72905B71C826}"/>
              </a:ext>
            </a:extLst>
          </p:cNvPr>
          <p:cNvSpPr/>
          <p:nvPr/>
        </p:nvSpPr>
        <p:spPr>
          <a:xfrm>
            <a:off x="8616161" y="2985203"/>
            <a:ext cx="2798941" cy="369332"/>
          </a:xfrm>
          <a:prstGeom prst="rect">
            <a:avLst/>
          </a:prstGeom>
        </p:spPr>
        <p:txBody>
          <a:bodyPr wrap="square">
            <a:spAutoFit/>
          </a:bodyPr>
          <a:lstStyle/>
          <a:p>
            <a:pPr algn="ctr" defTabSz="1219170">
              <a:buClr>
                <a:srgbClr val="000000"/>
              </a:buClr>
            </a:pPr>
            <a:r>
              <a:rPr lang="es-CO" b="1" kern="0" dirty="0">
                <a:solidFill>
                  <a:schemeClr val="bg1"/>
                </a:solidFill>
                <a:latin typeface="Century Gothic" panose="020B0502020202020204" pitchFamily="34" charset="0"/>
                <a:ea typeface="Economica"/>
                <a:cs typeface="Economica"/>
                <a:sym typeface="Economica"/>
              </a:rPr>
              <a:t>N</a:t>
            </a:r>
            <a:r>
              <a:rPr lang="es-CO" sz="1467" b="1" kern="0" dirty="0">
                <a:solidFill>
                  <a:schemeClr val="bg1"/>
                </a:solidFill>
                <a:latin typeface="Century Gothic" panose="020B0502020202020204" pitchFamily="34" charset="0"/>
                <a:ea typeface="Economica"/>
                <a:cs typeface="Economica"/>
                <a:sym typeface="Economica"/>
              </a:rPr>
              <a:t>UESTROS </a:t>
            </a:r>
            <a:r>
              <a:rPr lang="es-CO" b="1" kern="0" dirty="0">
                <a:solidFill>
                  <a:schemeClr val="bg1"/>
                </a:solidFill>
                <a:latin typeface="Century Gothic" panose="020B0502020202020204" pitchFamily="34" charset="0"/>
                <a:ea typeface="Economica"/>
                <a:cs typeface="Economica"/>
                <a:sym typeface="Economica"/>
              </a:rPr>
              <a:t>R</a:t>
            </a:r>
            <a:r>
              <a:rPr lang="es-CO" sz="1467" b="1" kern="0" dirty="0">
                <a:solidFill>
                  <a:schemeClr val="bg1"/>
                </a:solidFill>
                <a:latin typeface="Century Gothic" panose="020B0502020202020204" pitchFamily="34" charset="0"/>
                <a:ea typeface="Economica"/>
                <a:cs typeface="Economica"/>
                <a:sym typeface="Economica"/>
              </a:rPr>
              <a:t>ESULTADOS</a:t>
            </a:r>
          </a:p>
        </p:txBody>
      </p:sp>
      <p:sp>
        <p:nvSpPr>
          <p:cNvPr id="36" name="Rectángulo 35">
            <a:extLst>
              <a:ext uri="{FF2B5EF4-FFF2-40B4-BE49-F238E27FC236}">
                <a16:creationId xmlns:a16="http://schemas.microsoft.com/office/drawing/2014/main" id="{D1E322B1-327A-457D-9E19-F74699530988}"/>
              </a:ext>
            </a:extLst>
          </p:cNvPr>
          <p:cNvSpPr/>
          <p:nvPr/>
        </p:nvSpPr>
        <p:spPr>
          <a:xfrm>
            <a:off x="-13892" y="1174373"/>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7" name="Rectángulo 36">
            <a:extLst>
              <a:ext uri="{FF2B5EF4-FFF2-40B4-BE49-F238E27FC236}">
                <a16:creationId xmlns:a16="http://schemas.microsoft.com/office/drawing/2014/main" id="{9A459EB1-492E-48B6-A4C6-69F8D85DB7B1}"/>
              </a:ext>
            </a:extLst>
          </p:cNvPr>
          <p:cNvSpPr/>
          <p:nvPr/>
        </p:nvSpPr>
        <p:spPr>
          <a:xfrm>
            <a:off x="8335446" y="3835238"/>
            <a:ext cx="2965869" cy="1200329"/>
          </a:xfrm>
          <a:prstGeom prst="rect">
            <a:avLst/>
          </a:prstGeom>
        </p:spPr>
        <p:txBody>
          <a:bodyPr wrap="square">
            <a:spAutoFit/>
          </a:bodyPr>
          <a:lstStyle/>
          <a:p>
            <a:pPr lvl="0" algn="ctr" defTabSz="685800">
              <a:defRPr/>
            </a:pPr>
            <a:r>
              <a:rPr lang="es-CO" sz="1200" dirty="0">
                <a:solidFill>
                  <a:prstClr val="black">
                    <a:lumMod val="95000"/>
                    <a:lumOff val="5000"/>
                  </a:prstClr>
                </a:solidFill>
                <a:latin typeface="Century Gothic" panose="020B0502020202020204" pitchFamily="34" charset="0"/>
                <a:cs typeface="Arial" panose="020B0604020202020204" pitchFamily="34" charset="0"/>
                <a:sym typeface="Arial"/>
              </a:rPr>
              <a:t>Con el desarrollo de los proyectos 4G actualmente se benefician alrededor de </a:t>
            </a:r>
            <a:r>
              <a:rPr lang="es-CO" sz="1200" b="1" dirty="0">
                <a:solidFill>
                  <a:prstClr val="black">
                    <a:lumMod val="95000"/>
                    <a:lumOff val="5000"/>
                  </a:prstClr>
                </a:solidFill>
                <a:latin typeface="Century Gothic" panose="020B0502020202020204" pitchFamily="34" charset="0"/>
                <a:cs typeface="Arial" panose="020B0604020202020204" pitchFamily="34" charset="0"/>
                <a:sym typeface="Arial"/>
              </a:rPr>
              <a:t>7.800 mujeres por generación de empleo y el desarrollo de acciones de emprendimiento.</a:t>
            </a:r>
            <a:endParaRPr lang="en-US" sz="1200" b="1" dirty="0">
              <a:solidFill>
                <a:prstClr val="black">
                  <a:lumMod val="95000"/>
                  <a:lumOff val="5000"/>
                </a:prstClr>
              </a:solidFill>
              <a:latin typeface="Century Gothic" panose="020B0502020202020204" pitchFamily="34" charset="0"/>
              <a:cs typeface="Arial" panose="020B0604020202020204" pitchFamily="34" charset="0"/>
              <a:sym typeface="Arial"/>
            </a:endParaRPr>
          </a:p>
        </p:txBody>
      </p:sp>
      <p:pic>
        <p:nvPicPr>
          <p:cNvPr id="33" name="Picture 16" descr="Resultado de imagen para ods igualdad de genero">
            <a:extLst>
              <a:ext uri="{FF2B5EF4-FFF2-40B4-BE49-F238E27FC236}">
                <a16:creationId xmlns:a16="http://schemas.microsoft.com/office/drawing/2014/main" id="{126D5BF0-C00D-4F41-BB4A-40D43E0DB422}"/>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81" t="-3301" r="4581" b="3301"/>
          <a:stretch/>
        </p:blipFill>
        <p:spPr bwMode="auto">
          <a:xfrm>
            <a:off x="4284822" y="2433094"/>
            <a:ext cx="873615" cy="873615"/>
          </a:xfrm>
          <a:prstGeom prst="ellipse">
            <a:avLst/>
          </a:prstGeom>
          <a:noFill/>
          <a:extLst>
            <a:ext uri="{909E8E84-426E-40DD-AFC4-6F175D3DCCD1}">
              <a14:hiddenFill xmlns:a14="http://schemas.microsoft.com/office/drawing/2010/main">
                <a:solidFill>
                  <a:srgbClr val="FFFFFF"/>
                </a:solidFill>
              </a14:hiddenFill>
            </a:ext>
          </a:extLst>
        </p:spPr>
      </p:pic>
      <p:sp>
        <p:nvSpPr>
          <p:cNvPr id="39" name="Google Shape;438;p68">
            <a:extLst>
              <a:ext uri="{FF2B5EF4-FFF2-40B4-BE49-F238E27FC236}">
                <a16:creationId xmlns:a16="http://schemas.microsoft.com/office/drawing/2014/main" id="{439DB933-4D75-421E-9F2C-DBDA5B09D4FE}"/>
              </a:ext>
            </a:extLst>
          </p:cNvPr>
          <p:cNvSpPr txBox="1"/>
          <p:nvPr/>
        </p:nvSpPr>
        <p:spPr>
          <a:xfrm>
            <a:off x="4490596" y="4116584"/>
            <a:ext cx="3306143"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400" b="1" kern="0" dirty="0">
                <a:solidFill>
                  <a:srgbClr val="000000"/>
                </a:solidFill>
                <a:latin typeface="Century Gothic" panose="020B0502020202020204" pitchFamily="34" charset="0"/>
                <a:cs typeface="Arial"/>
                <a:sym typeface="Arial"/>
              </a:rPr>
              <a:t>Meta 5.a</a:t>
            </a:r>
          </a:p>
          <a:p>
            <a:pPr algn="ctr" defTabSz="1219170">
              <a:buClr>
                <a:srgbClr val="000000"/>
              </a:buClr>
            </a:pPr>
            <a:r>
              <a:rPr lang="es-CO" sz="1200" kern="0" dirty="0">
                <a:solidFill>
                  <a:srgbClr val="000000"/>
                </a:solidFill>
                <a:latin typeface="Century Gothic" panose="020B0502020202020204" pitchFamily="34" charset="0"/>
                <a:cs typeface="Arial"/>
              </a:rPr>
              <a:t>Emprender reformas que otorguen a las mujeres igualdad de derechos a los recursos económicos.</a:t>
            </a:r>
            <a:r>
              <a:rPr lang="es-MX" sz="1300" kern="0" dirty="0">
                <a:solidFill>
                  <a:srgbClr val="000000"/>
                </a:solidFill>
                <a:latin typeface="Century Gothic" panose="020B0502020202020204" pitchFamily="34" charset="0"/>
                <a:cs typeface="Arial"/>
                <a:sym typeface="Arial"/>
              </a:rPr>
              <a:t>.</a:t>
            </a:r>
            <a:endParaRPr lang="es-MX" sz="1300" kern="0" dirty="0">
              <a:solidFill>
                <a:srgbClr val="000000"/>
              </a:solidFill>
              <a:latin typeface="Century Gothic" panose="020B0502020202020204" pitchFamily="34" charset="0"/>
              <a:cs typeface="Arial"/>
              <a:sym typeface="Economica"/>
            </a:endParaRPr>
          </a:p>
        </p:txBody>
      </p:sp>
      <p:sp>
        <p:nvSpPr>
          <p:cNvPr id="40" name="Rectángulo 39">
            <a:extLst>
              <a:ext uri="{FF2B5EF4-FFF2-40B4-BE49-F238E27FC236}">
                <a16:creationId xmlns:a16="http://schemas.microsoft.com/office/drawing/2014/main" id="{BD6ED289-98D1-41A2-AC47-7CB467A924C3}"/>
              </a:ext>
            </a:extLst>
          </p:cNvPr>
          <p:cNvSpPr/>
          <p:nvPr/>
        </p:nvSpPr>
        <p:spPr>
          <a:xfrm>
            <a:off x="4976358" y="2964317"/>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41" name="Rectángulo 40">
            <a:extLst>
              <a:ext uri="{FF2B5EF4-FFF2-40B4-BE49-F238E27FC236}">
                <a16:creationId xmlns:a16="http://schemas.microsoft.com/office/drawing/2014/main" id="{87C90642-E310-4658-86A5-F265B3331BDF}"/>
              </a:ext>
            </a:extLst>
          </p:cNvPr>
          <p:cNvSpPr/>
          <p:nvPr/>
        </p:nvSpPr>
        <p:spPr>
          <a:xfrm>
            <a:off x="4721630" y="3675303"/>
            <a:ext cx="2844077" cy="323165"/>
          </a:xfrm>
          <a:prstGeom prst="rect">
            <a:avLst/>
          </a:prstGeom>
        </p:spPr>
        <p:txBody>
          <a:bodyPr wrap="squar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5. IGUALDAD DE GÉNERO</a:t>
            </a:r>
          </a:p>
        </p:txBody>
      </p:sp>
    </p:spTree>
    <p:extLst>
      <p:ext uri="{BB962C8B-B14F-4D97-AF65-F5344CB8AC3E}">
        <p14:creationId xmlns:p14="http://schemas.microsoft.com/office/powerpoint/2010/main" val="5746351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Marcador de contenido 1">
            <a:extLst>
              <a:ext uri="{FF2B5EF4-FFF2-40B4-BE49-F238E27FC236}">
                <a16:creationId xmlns:a16="http://schemas.microsoft.com/office/drawing/2014/main" id="{BA4AC29D-BAAB-4D31-8043-9A6902B4BDE7}"/>
              </a:ext>
            </a:extLst>
          </p:cNvPr>
          <p:cNvSpPr txBox="1">
            <a:spLocks/>
          </p:cNvSpPr>
          <p:nvPr/>
        </p:nvSpPr>
        <p:spPr bwMode="auto">
          <a:xfrm>
            <a:off x="2" y="953515"/>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PORTES A LA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I</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GUALDAD DE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G</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ÉNERO Y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E</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MPODERAMIENTO DE LAS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M</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UJERES</a:t>
            </a:r>
          </a:p>
          <a:p>
            <a:pPr marL="177792" marR="0" lvl="0" indent="-177792" algn="ctr" defTabSz="914354" rtl="0" eaLnBrk="1" fontAlgn="base" latinLnBrk="0" hangingPunct="1">
              <a:lnSpc>
                <a:spcPct val="100000"/>
              </a:lnSpc>
              <a:spcBef>
                <a:spcPct val="20000"/>
              </a:spcBef>
              <a:spcAft>
                <a:spcPct val="0"/>
              </a:spcAft>
              <a:buClrTx/>
              <a:buSzTx/>
              <a:buFont typeface="Arial" charset="0"/>
              <a:buChar char="•"/>
              <a:tabLst/>
              <a:defRPr/>
            </a:pPr>
            <a:endParaRPr kumimoji="0" lang="es-CO" sz="1200" b="1" i="0" u="none" strike="noStrike" kern="1200" cap="none" spc="0" normalizeH="0" baseline="0" noProof="0" dirty="0">
              <a:ln>
                <a:noFill/>
              </a:ln>
              <a:solidFill>
                <a:srgbClr val="386295"/>
              </a:solidFill>
              <a:effectLst/>
              <a:uLnTx/>
              <a:uFillTx/>
              <a:latin typeface="Century Gothic" panose="020B0502020202020204" pitchFamily="34" charset="0"/>
              <a:ea typeface="+mn-ea"/>
              <a:cs typeface="+mn-cs"/>
              <a:sym typeface="Arial"/>
            </a:endParaRPr>
          </a:p>
          <a:p>
            <a:pPr marL="177792" marR="0" lvl="0" indent="-177792" algn="ctr" defTabSz="914354" rtl="0" eaLnBrk="1" fontAlgn="base" latinLnBrk="0" hangingPunct="1">
              <a:lnSpc>
                <a:spcPct val="100000"/>
              </a:lnSpc>
              <a:spcBef>
                <a:spcPct val="20000"/>
              </a:spcBef>
              <a:spcAft>
                <a:spcPct val="0"/>
              </a:spcAft>
              <a:buClrTx/>
              <a:buSzTx/>
              <a:buFont typeface="Arial" charset="0"/>
              <a:buNone/>
              <a:tabLst/>
              <a:defRPr/>
            </a:pPr>
            <a:r>
              <a:rPr kumimoji="0" lang="es-ES" sz="1200" b="0" i="0" u="none" strike="noStrike" kern="1200" cap="none" spc="0" normalizeH="0" baseline="0" noProof="0" dirty="0">
                <a:ln>
                  <a:noFill/>
                </a:ln>
                <a:solidFill>
                  <a:srgbClr val="386295"/>
                </a:solidFill>
                <a:effectLst/>
                <a:uLnTx/>
                <a:uFillTx/>
                <a:latin typeface="Century Gothic" panose="020B0502020202020204" pitchFamily="34" charset="0"/>
                <a:ea typeface="+mn-ea"/>
                <a:cs typeface="+mn-cs"/>
                <a:sym typeface="Arial"/>
              </a:rPr>
              <a:t>	</a:t>
            </a:r>
            <a:endParaRPr kumimoji="0" lang="es-CO" sz="2000" b="1" i="0" u="none" strike="noStrike" kern="1200" cap="none" spc="0" normalizeH="0" baseline="0" noProof="0" dirty="0">
              <a:ln>
                <a:noFill/>
              </a:ln>
              <a:solidFill>
                <a:srgbClr val="386295"/>
              </a:solidFill>
              <a:effectLst/>
              <a:uLnTx/>
              <a:uFillTx/>
              <a:latin typeface="Century Gothic" panose="020B0502020202020204" pitchFamily="34" charset="0"/>
              <a:ea typeface="+mn-ea"/>
              <a:cs typeface="+mn-cs"/>
              <a:sym typeface="Arial"/>
            </a:endParaRPr>
          </a:p>
        </p:txBody>
      </p:sp>
      <p:pic>
        <p:nvPicPr>
          <p:cNvPr id="10" name="Imagen 9">
            <a:extLst>
              <a:ext uri="{FF2B5EF4-FFF2-40B4-BE49-F238E27FC236}">
                <a16:creationId xmlns:a16="http://schemas.microsoft.com/office/drawing/2014/main" id="{309A4DB4-335B-4E56-9FF0-E57853211FC6}"/>
              </a:ext>
            </a:extLst>
          </p:cNvPr>
          <p:cNvPicPr>
            <a:picLocks noChangeAspect="1"/>
          </p:cNvPicPr>
          <p:nvPr/>
        </p:nvPicPr>
        <p:blipFill>
          <a:blip r:embed="rId2"/>
          <a:stretch>
            <a:fillRect/>
          </a:stretch>
        </p:blipFill>
        <p:spPr>
          <a:xfrm>
            <a:off x="2183517" y="2003209"/>
            <a:ext cx="6811507" cy="3832539"/>
          </a:xfrm>
          <a:prstGeom prst="rect">
            <a:avLst/>
          </a:prstGeom>
        </p:spPr>
      </p:pic>
      <p:sp>
        <p:nvSpPr>
          <p:cNvPr id="11" name="Rectángulo 10">
            <a:extLst>
              <a:ext uri="{FF2B5EF4-FFF2-40B4-BE49-F238E27FC236}">
                <a16:creationId xmlns:a16="http://schemas.microsoft.com/office/drawing/2014/main" id="{FADB577D-6BD9-4C83-A47B-893C7AAE699E}"/>
              </a:ext>
            </a:extLst>
          </p:cNvPr>
          <p:cNvSpPr/>
          <p:nvPr/>
        </p:nvSpPr>
        <p:spPr>
          <a:xfrm>
            <a:off x="0" y="1549599"/>
            <a:ext cx="12192000" cy="30777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Se ha fortalecido a través de la generación de empleo y acciones de emprendimiento lideradas por mujeres. </a:t>
            </a:r>
          </a:p>
        </p:txBody>
      </p:sp>
      <p:grpSp>
        <p:nvGrpSpPr>
          <p:cNvPr id="12" name="31 Grupo">
            <a:extLst>
              <a:ext uri="{FF2B5EF4-FFF2-40B4-BE49-F238E27FC236}">
                <a16:creationId xmlns:a16="http://schemas.microsoft.com/office/drawing/2014/main" id="{79E89FEB-D4B6-4282-8AF2-3B60BEB8B316}"/>
              </a:ext>
            </a:extLst>
          </p:cNvPr>
          <p:cNvGrpSpPr>
            <a:grpSpLocks/>
          </p:cNvGrpSpPr>
          <p:nvPr/>
        </p:nvGrpSpPr>
        <p:grpSpPr bwMode="auto">
          <a:xfrm>
            <a:off x="9020133" y="2468176"/>
            <a:ext cx="3032883" cy="2902609"/>
            <a:chOff x="468313" y="1500188"/>
            <a:chExt cx="1862137" cy="1816100"/>
          </a:xfrm>
        </p:grpSpPr>
        <p:sp>
          <p:nvSpPr>
            <p:cNvPr id="13" name="Freeform 11">
              <a:extLst>
                <a:ext uri="{FF2B5EF4-FFF2-40B4-BE49-F238E27FC236}">
                  <a16:creationId xmlns:a16="http://schemas.microsoft.com/office/drawing/2014/main" id="{D875E15C-C325-4598-8F34-BE4CA1794918}"/>
                </a:ext>
              </a:extLst>
            </p:cNvPr>
            <p:cNvSpPr>
              <a:spLocks noEditPoints="1"/>
            </p:cNvSpPr>
            <p:nvPr/>
          </p:nvSpPr>
          <p:spPr bwMode="auto">
            <a:xfrm>
              <a:off x="468313" y="1500188"/>
              <a:ext cx="1862137" cy="1816100"/>
            </a:xfrm>
            <a:custGeom>
              <a:avLst/>
              <a:gdLst>
                <a:gd name="T0" fmla="*/ 2147483646 w 4993"/>
                <a:gd name="T1" fmla="*/ 2147483646 h 4872"/>
                <a:gd name="T2" fmla="*/ 2147483646 w 4993"/>
                <a:gd name="T3" fmla="*/ 2147483646 h 4872"/>
                <a:gd name="T4" fmla="*/ 2147483646 w 4993"/>
                <a:gd name="T5" fmla="*/ 2147483646 h 4872"/>
                <a:gd name="T6" fmla="*/ 2147483646 w 4993"/>
                <a:gd name="T7" fmla="*/ 2147483646 h 4872"/>
                <a:gd name="T8" fmla="*/ 2147483646 w 4993"/>
                <a:gd name="T9" fmla="*/ 2147483646 h 4872"/>
                <a:gd name="T10" fmla="*/ 2147483646 w 4993"/>
                <a:gd name="T11" fmla="*/ 2147483646 h 4872"/>
                <a:gd name="T12" fmla="*/ 2147483646 w 4993"/>
                <a:gd name="T13" fmla="*/ 2147483646 h 4872"/>
                <a:gd name="T14" fmla="*/ 2147483646 w 4993"/>
                <a:gd name="T15" fmla="*/ 2147483646 h 4872"/>
                <a:gd name="T16" fmla="*/ 2147483646 w 4993"/>
                <a:gd name="T17" fmla="*/ 2147483646 h 4872"/>
                <a:gd name="T18" fmla="*/ 2147483646 w 4993"/>
                <a:gd name="T19" fmla="*/ 2147483646 h 4872"/>
                <a:gd name="T20" fmla="*/ 2147483646 w 4993"/>
                <a:gd name="T21" fmla="*/ 2147483646 h 4872"/>
                <a:gd name="T22" fmla="*/ 2147483646 w 4993"/>
                <a:gd name="T23" fmla="*/ 2147483646 h 4872"/>
                <a:gd name="T24" fmla="*/ 2147483646 w 4993"/>
                <a:gd name="T25" fmla="*/ 2147483646 h 4872"/>
                <a:gd name="T26" fmla="*/ 2147483646 w 4993"/>
                <a:gd name="T27" fmla="*/ 2147483646 h 4872"/>
                <a:gd name="T28" fmla="*/ 2147483646 w 4993"/>
                <a:gd name="T29" fmla="*/ 2147483646 h 4872"/>
                <a:gd name="T30" fmla="*/ 2147483646 w 4993"/>
                <a:gd name="T31" fmla="*/ 2147483646 h 4872"/>
                <a:gd name="T32" fmla="*/ 2147483646 w 4993"/>
                <a:gd name="T33" fmla="*/ 2147483646 h 4872"/>
                <a:gd name="T34" fmla="*/ 2147483646 w 4993"/>
                <a:gd name="T35" fmla="*/ 2147483646 h 4872"/>
                <a:gd name="T36" fmla="*/ 2147483646 w 4993"/>
                <a:gd name="T37" fmla="*/ 2147483646 h 4872"/>
                <a:gd name="T38" fmla="*/ 2147483646 w 4993"/>
                <a:gd name="T39" fmla="*/ 2147483646 h 4872"/>
                <a:gd name="T40" fmla="*/ 2147483646 w 4993"/>
                <a:gd name="T41" fmla="*/ 2147483646 h 4872"/>
                <a:gd name="T42" fmla="*/ 2147483646 w 4993"/>
                <a:gd name="T43" fmla="*/ 2147483646 h 4872"/>
                <a:gd name="T44" fmla="*/ 2147483646 w 4993"/>
                <a:gd name="T45" fmla="*/ 2147483646 h 4872"/>
                <a:gd name="T46" fmla="*/ 2147483646 w 4993"/>
                <a:gd name="T47" fmla="*/ 2147483646 h 4872"/>
                <a:gd name="T48" fmla="*/ 2147483646 w 4993"/>
                <a:gd name="T49" fmla="*/ 2147483646 h 4872"/>
                <a:gd name="T50" fmla="*/ 2147483646 w 4993"/>
                <a:gd name="T51" fmla="*/ 2147483646 h 4872"/>
                <a:gd name="T52" fmla="*/ 2147483646 w 4993"/>
                <a:gd name="T53" fmla="*/ 2147483646 h 4872"/>
                <a:gd name="T54" fmla="*/ 2147483646 w 4993"/>
                <a:gd name="T55" fmla="*/ 2147483646 h 4872"/>
                <a:gd name="T56" fmla="*/ 2147483646 w 4993"/>
                <a:gd name="T57" fmla="*/ 2147483646 h 4872"/>
                <a:gd name="T58" fmla="*/ 2147483646 w 4993"/>
                <a:gd name="T59" fmla="*/ 2147483646 h 4872"/>
                <a:gd name="T60" fmla="*/ 2147483646 w 4993"/>
                <a:gd name="T61" fmla="*/ 2147483646 h 4872"/>
                <a:gd name="T62" fmla="*/ 2147483646 w 4993"/>
                <a:gd name="T63" fmla="*/ 2147483646 h 4872"/>
                <a:gd name="T64" fmla="*/ 2147483646 w 4993"/>
                <a:gd name="T65" fmla="*/ 2147483646 h 4872"/>
                <a:gd name="T66" fmla="*/ 2147483646 w 4993"/>
                <a:gd name="T67" fmla="*/ 2147483646 h 4872"/>
                <a:gd name="T68" fmla="*/ 2147483646 w 4993"/>
                <a:gd name="T69" fmla="*/ 2147483646 h 4872"/>
                <a:gd name="T70" fmla="*/ 2147483646 w 4993"/>
                <a:gd name="T71" fmla="*/ 2147483646 h 4872"/>
                <a:gd name="T72" fmla="*/ 2147483646 w 4993"/>
                <a:gd name="T73" fmla="*/ 2147483646 h 4872"/>
                <a:gd name="T74" fmla="*/ 2147483646 w 4993"/>
                <a:gd name="T75" fmla="*/ 2147483646 h 4872"/>
                <a:gd name="T76" fmla="*/ 2147483646 w 4993"/>
                <a:gd name="T77" fmla="*/ 2147483646 h 4872"/>
                <a:gd name="T78" fmla="*/ 2147483646 w 4993"/>
                <a:gd name="T79" fmla="*/ 2147483646 h 4872"/>
                <a:gd name="T80" fmla="*/ 2147483646 w 4993"/>
                <a:gd name="T81" fmla="*/ 2147483646 h 4872"/>
                <a:gd name="T82" fmla="*/ 2147483646 w 4993"/>
                <a:gd name="T83" fmla="*/ 2147483646 h 4872"/>
                <a:gd name="T84" fmla="*/ 2147483646 w 4993"/>
                <a:gd name="T85" fmla="*/ 2147483646 h 4872"/>
                <a:gd name="T86" fmla="*/ 2147483646 w 4993"/>
                <a:gd name="T87" fmla="*/ 2147483646 h 4872"/>
                <a:gd name="T88" fmla="*/ 2147483646 w 4993"/>
                <a:gd name="T89" fmla="*/ 2147483646 h 4872"/>
                <a:gd name="T90" fmla="*/ 2147483646 w 4993"/>
                <a:gd name="T91" fmla="*/ 2147483646 h 4872"/>
                <a:gd name="T92" fmla="*/ 2147483646 w 4993"/>
                <a:gd name="T93" fmla="*/ 2147483646 h 4872"/>
                <a:gd name="T94" fmla="*/ 2147483646 w 4993"/>
                <a:gd name="T95" fmla="*/ 2147483646 h 4872"/>
                <a:gd name="T96" fmla="*/ 0 w 4993"/>
                <a:gd name="T97" fmla="*/ 2147483646 h 4872"/>
                <a:gd name="T98" fmla="*/ 2147483646 w 4993"/>
                <a:gd name="T99" fmla="*/ 2147483646 h 4872"/>
                <a:gd name="T100" fmla="*/ 2147483646 w 4993"/>
                <a:gd name="T101" fmla="*/ 2147483646 h 4872"/>
                <a:gd name="T102" fmla="*/ 2147483646 w 4993"/>
                <a:gd name="T103" fmla="*/ 2147483646 h 4872"/>
                <a:gd name="T104" fmla="*/ 2147483646 w 4993"/>
                <a:gd name="T105" fmla="*/ 2147483646 h 4872"/>
                <a:gd name="T106" fmla="*/ 2147483646 w 4993"/>
                <a:gd name="T107" fmla="*/ 2147483646 h 487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93" h="4872">
                  <a:moveTo>
                    <a:pt x="1999" y="32"/>
                  </a:moveTo>
                  <a:lnTo>
                    <a:pt x="1934" y="35"/>
                  </a:lnTo>
                  <a:lnTo>
                    <a:pt x="1874" y="46"/>
                  </a:lnTo>
                  <a:lnTo>
                    <a:pt x="1781" y="82"/>
                  </a:lnTo>
                  <a:lnTo>
                    <a:pt x="1692" y="135"/>
                  </a:lnTo>
                  <a:lnTo>
                    <a:pt x="1613" y="210"/>
                  </a:lnTo>
                  <a:lnTo>
                    <a:pt x="1542" y="299"/>
                  </a:lnTo>
                  <a:lnTo>
                    <a:pt x="1481" y="407"/>
                  </a:lnTo>
                  <a:lnTo>
                    <a:pt x="1424" y="528"/>
                  </a:lnTo>
                  <a:lnTo>
                    <a:pt x="1378" y="664"/>
                  </a:lnTo>
                  <a:lnTo>
                    <a:pt x="1371" y="678"/>
                  </a:lnTo>
                  <a:lnTo>
                    <a:pt x="1360" y="674"/>
                  </a:lnTo>
                  <a:lnTo>
                    <a:pt x="1246" y="660"/>
                  </a:lnTo>
                  <a:lnTo>
                    <a:pt x="1142" y="656"/>
                  </a:lnTo>
                  <a:lnTo>
                    <a:pt x="1024" y="664"/>
                  </a:lnTo>
                  <a:lnTo>
                    <a:pt x="917" y="681"/>
                  </a:lnTo>
                  <a:lnTo>
                    <a:pt x="817" y="710"/>
                  </a:lnTo>
                  <a:lnTo>
                    <a:pt x="732" y="749"/>
                  </a:lnTo>
                  <a:lnTo>
                    <a:pt x="653" y="803"/>
                  </a:lnTo>
                  <a:lnTo>
                    <a:pt x="589" y="867"/>
                  </a:lnTo>
                  <a:lnTo>
                    <a:pt x="535" y="946"/>
                  </a:lnTo>
                  <a:lnTo>
                    <a:pt x="500" y="1038"/>
                  </a:lnTo>
                  <a:lnTo>
                    <a:pt x="475" y="1138"/>
                  </a:lnTo>
                  <a:lnTo>
                    <a:pt x="468" y="1245"/>
                  </a:lnTo>
                  <a:lnTo>
                    <a:pt x="471" y="1342"/>
                  </a:lnTo>
                  <a:lnTo>
                    <a:pt x="489" y="1442"/>
                  </a:lnTo>
                  <a:lnTo>
                    <a:pt x="514" y="1549"/>
                  </a:lnTo>
                  <a:lnTo>
                    <a:pt x="550" y="1660"/>
                  </a:lnTo>
                  <a:lnTo>
                    <a:pt x="553" y="1674"/>
                  </a:lnTo>
                  <a:lnTo>
                    <a:pt x="543" y="1681"/>
                  </a:lnTo>
                  <a:lnTo>
                    <a:pt x="418" y="1752"/>
                  </a:lnTo>
                  <a:lnTo>
                    <a:pt x="307" y="1831"/>
                  </a:lnTo>
                  <a:lnTo>
                    <a:pt x="214" y="1913"/>
                  </a:lnTo>
                  <a:lnTo>
                    <a:pt x="143" y="2002"/>
                  </a:lnTo>
                  <a:lnTo>
                    <a:pt x="86" y="2091"/>
                  </a:lnTo>
                  <a:lnTo>
                    <a:pt x="50" y="2188"/>
                  </a:lnTo>
                  <a:lnTo>
                    <a:pt x="32" y="2288"/>
                  </a:lnTo>
                  <a:lnTo>
                    <a:pt x="32" y="2316"/>
                  </a:lnTo>
                  <a:lnTo>
                    <a:pt x="46" y="2427"/>
                  </a:lnTo>
                  <a:lnTo>
                    <a:pt x="82" y="2538"/>
                  </a:lnTo>
                  <a:lnTo>
                    <a:pt x="146" y="2648"/>
                  </a:lnTo>
                  <a:lnTo>
                    <a:pt x="228" y="2752"/>
                  </a:lnTo>
                  <a:lnTo>
                    <a:pt x="335" y="2855"/>
                  </a:lnTo>
                  <a:lnTo>
                    <a:pt x="478" y="2963"/>
                  </a:lnTo>
                  <a:lnTo>
                    <a:pt x="471" y="2973"/>
                  </a:lnTo>
                  <a:lnTo>
                    <a:pt x="414" y="3105"/>
                  </a:lnTo>
                  <a:lnTo>
                    <a:pt x="371" y="3230"/>
                  </a:lnTo>
                  <a:lnTo>
                    <a:pt x="343" y="3352"/>
                  </a:lnTo>
                  <a:lnTo>
                    <a:pt x="335" y="3466"/>
                  </a:lnTo>
                  <a:lnTo>
                    <a:pt x="339" y="3548"/>
                  </a:lnTo>
                  <a:lnTo>
                    <a:pt x="357" y="3627"/>
                  </a:lnTo>
                  <a:lnTo>
                    <a:pt x="382" y="3698"/>
                  </a:lnTo>
                  <a:lnTo>
                    <a:pt x="418" y="3766"/>
                  </a:lnTo>
                  <a:lnTo>
                    <a:pt x="478" y="3841"/>
                  </a:lnTo>
                  <a:lnTo>
                    <a:pt x="553" y="3905"/>
                  </a:lnTo>
                  <a:lnTo>
                    <a:pt x="639" y="3955"/>
                  </a:lnTo>
                  <a:lnTo>
                    <a:pt x="742" y="3998"/>
                  </a:lnTo>
                  <a:lnTo>
                    <a:pt x="857" y="4026"/>
                  </a:lnTo>
                  <a:lnTo>
                    <a:pt x="982" y="4041"/>
                  </a:lnTo>
                  <a:lnTo>
                    <a:pt x="1117" y="4048"/>
                  </a:lnTo>
                  <a:lnTo>
                    <a:pt x="1171" y="4048"/>
                  </a:lnTo>
                  <a:lnTo>
                    <a:pt x="1174" y="4062"/>
                  </a:lnTo>
                  <a:lnTo>
                    <a:pt x="1206" y="4201"/>
                  </a:lnTo>
                  <a:lnTo>
                    <a:pt x="1246" y="4330"/>
                  </a:lnTo>
                  <a:lnTo>
                    <a:pt x="1296" y="4444"/>
                  </a:lnTo>
                  <a:lnTo>
                    <a:pt x="1356" y="4540"/>
                  </a:lnTo>
                  <a:lnTo>
                    <a:pt x="1428" y="4622"/>
                  </a:lnTo>
                  <a:lnTo>
                    <a:pt x="1506" y="4687"/>
                  </a:lnTo>
                  <a:lnTo>
                    <a:pt x="1595" y="4733"/>
                  </a:lnTo>
                  <a:lnTo>
                    <a:pt x="1688" y="4758"/>
                  </a:lnTo>
                  <a:lnTo>
                    <a:pt x="1781" y="4765"/>
                  </a:lnTo>
                  <a:lnTo>
                    <a:pt x="1892" y="4755"/>
                  </a:lnTo>
                  <a:lnTo>
                    <a:pt x="2006" y="4726"/>
                  </a:lnTo>
                  <a:lnTo>
                    <a:pt x="2120" y="4680"/>
                  </a:lnTo>
                  <a:lnTo>
                    <a:pt x="2241" y="4612"/>
                  </a:lnTo>
                  <a:lnTo>
                    <a:pt x="2363" y="4526"/>
                  </a:lnTo>
                  <a:lnTo>
                    <a:pt x="2373" y="4519"/>
                  </a:lnTo>
                  <a:lnTo>
                    <a:pt x="2384" y="4530"/>
                  </a:lnTo>
                  <a:lnTo>
                    <a:pt x="2488" y="4622"/>
                  </a:lnTo>
                  <a:lnTo>
                    <a:pt x="2588" y="4697"/>
                  </a:lnTo>
                  <a:lnTo>
                    <a:pt x="2691" y="4758"/>
                  </a:lnTo>
                  <a:lnTo>
                    <a:pt x="2795" y="4801"/>
                  </a:lnTo>
                  <a:lnTo>
                    <a:pt x="2895" y="4830"/>
                  </a:lnTo>
                  <a:lnTo>
                    <a:pt x="2994" y="4837"/>
                  </a:lnTo>
                  <a:lnTo>
                    <a:pt x="3055" y="4833"/>
                  </a:lnTo>
                  <a:lnTo>
                    <a:pt x="3119" y="4822"/>
                  </a:lnTo>
                  <a:lnTo>
                    <a:pt x="3212" y="4787"/>
                  </a:lnTo>
                  <a:lnTo>
                    <a:pt x="3298" y="4733"/>
                  </a:lnTo>
                  <a:lnTo>
                    <a:pt x="3376" y="4662"/>
                  </a:lnTo>
                  <a:lnTo>
                    <a:pt x="3448" y="4573"/>
                  </a:lnTo>
                  <a:lnTo>
                    <a:pt x="3512" y="4465"/>
                  </a:lnTo>
                  <a:lnTo>
                    <a:pt x="3569" y="4344"/>
                  </a:lnTo>
                  <a:lnTo>
                    <a:pt x="3615" y="4208"/>
                  </a:lnTo>
                  <a:lnTo>
                    <a:pt x="3619" y="4194"/>
                  </a:lnTo>
                  <a:lnTo>
                    <a:pt x="3633" y="4194"/>
                  </a:lnTo>
                  <a:lnTo>
                    <a:pt x="3748" y="4208"/>
                  </a:lnTo>
                  <a:lnTo>
                    <a:pt x="3851" y="4212"/>
                  </a:lnTo>
                  <a:lnTo>
                    <a:pt x="3969" y="4205"/>
                  </a:lnTo>
                  <a:lnTo>
                    <a:pt x="4076" y="4191"/>
                  </a:lnTo>
                  <a:lnTo>
                    <a:pt x="4176" y="4162"/>
                  </a:lnTo>
                  <a:lnTo>
                    <a:pt x="4261" y="4119"/>
                  </a:lnTo>
                  <a:lnTo>
                    <a:pt x="4340" y="4066"/>
                  </a:lnTo>
                  <a:lnTo>
                    <a:pt x="4404" y="4001"/>
                  </a:lnTo>
                  <a:lnTo>
                    <a:pt x="4454" y="3923"/>
                  </a:lnTo>
                  <a:lnTo>
                    <a:pt x="4493" y="3830"/>
                  </a:lnTo>
                  <a:lnTo>
                    <a:pt x="4515" y="3730"/>
                  </a:lnTo>
                  <a:lnTo>
                    <a:pt x="4522" y="3623"/>
                  </a:lnTo>
                  <a:lnTo>
                    <a:pt x="4515" y="3494"/>
                  </a:lnTo>
                  <a:lnTo>
                    <a:pt x="4486" y="3355"/>
                  </a:lnTo>
                  <a:lnTo>
                    <a:pt x="4444" y="3209"/>
                  </a:lnTo>
                  <a:lnTo>
                    <a:pt x="4440" y="3195"/>
                  </a:lnTo>
                  <a:lnTo>
                    <a:pt x="4451" y="3191"/>
                  </a:lnTo>
                  <a:lnTo>
                    <a:pt x="4576" y="3120"/>
                  </a:lnTo>
                  <a:lnTo>
                    <a:pt x="4686" y="3041"/>
                  </a:lnTo>
                  <a:lnTo>
                    <a:pt x="4775" y="2955"/>
                  </a:lnTo>
                  <a:lnTo>
                    <a:pt x="4850" y="2870"/>
                  </a:lnTo>
                  <a:lnTo>
                    <a:pt x="4908" y="2777"/>
                  </a:lnTo>
                  <a:lnTo>
                    <a:pt x="4943" y="2681"/>
                  </a:lnTo>
                  <a:lnTo>
                    <a:pt x="4957" y="2581"/>
                  </a:lnTo>
                  <a:lnTo>
                    <a:pt x="4961" y="2570"/>
                  </a:lnTo>
                  <a:lnTo>
                    <a:pt x="4961" y="2552"/>
                  </a:lnTo>
                  <a:lnTo>
                    <a:pt x="4947" y="2441"/>
                  </a:lnTo>
                  <a:lnTo>
                    <a:pt x="4911" y="2331"/>
                  </a:lnTo>
                  <a:lnTo>
                    <a:pt x="4847" y="2220"/>
                  </a:lnTo>
                  <a:lnTo>
                    <a:pt x="4765" y="2116"/>
                  </a:lnTo>
                  <a:lnTo>
                    <a:pt x="4658" y="2013"/>
                  </a:lnTo>
                  <a:lnTo>
                    <a:pt x="4529" y="1917"/>
                  </a:lnTo>
                  <a:lnTo>
                    <a:pt x="4515" y="1909"/>
                  </a:lnTo>
                  <a:lnTo>
                    <a:pt x="4522" y="1895"/>
                  </a:lnTo>
                  <a:lnTo>
                    <a:pt x="4579" y="1763"/>
                  </a:lnTo>
                  <a:lnTo>
                    <a:pt x="4622" y="1638"/>
                  </a:lnTo>
                  <a:lnTo>
                    <a:pt x="4647" y="1517"/>
                  </a:lnTo>
                  <a:lnTo>
                    <a:pt x="4654" y="1403"/>
                  </a:lnTo>
                  <a:lnTo>
                    <a:pt x="4651" y="1320"/>
                  </a:lnTo>
                  <a:lnTo>
                    <a:pt x="4636" y="1245"/>
                  </a:lnTo>
                  <a:lnTo>
                    <a:pt x="4611" y="1174"/>
                  </a:lnTo>
                  <a:lnTo>
                    <a:pt x="4576" y="1106"/>
                  </a:lnTo>
                  <a:lnTo>
                    <a:pt x="4515" y="1031"/>
                  </a:lnTo>
                  <a:lnTo>
                    <a:pt x="4440" y="967"/>
                  </a:lnTo>
                  <a:lnTo>
                    <a:pt x="4354" y="913"/>
                  </a:lnTo>
                  <a:lnTo>
                    <a:pt x="4251" y="871"/>
                  </a:lnTo>
                  <a:lnTo>
                    <a:pt x="4137" y="842"/>
                  </a:lnTo>
                  <a:lnTo>
                    <a:pt x="4012" y="828"/>
                  </a:lnTo>
                  <a:lnTo>
                    <a:pt x="3876" y="821"/>
                  </a:lnTo>
                  <a:lnTo>
                    <a:pt x="3822" y="821"/>
                  </a:lnTo>
                  <a:lnTo>
                    <a:pt x="3819" y="806"/>
                  </a:lnTo>
                  <a:lnTo>
                    <a:pt x="3787" y="667"/>
                  </a:lnTo>
                  <a:lnTo>
                    <a:pt x="3748" y="539"/>
                  </a:lnTo>
                  <a:lnTo>
                    <a:pt x="3698" y="428"/>
                  </a:lnTo>
                  <a:lnTo>
                    <a:pt x="3637" y="328"/>
                  </a:lnTo>
                  <a:lnTo>
                    <a:pt x="3566" y="249"/>
                  </a:lnTo>
                  <a:lnTo>
                    <a:pt x="3487" y="185"/>
                  </a:lnTo>
                  <a:lnTo>
                    <a:pt x="3398" y="139"/>
                  </a:lnTo>
                  <a:lnTo>
                    <a:pt x="3305" y="110"/>
                  </a:lnTo>
                  <a:lnTo>
                    <a:pt x="3212" y="103"/>
                  </a:lnTo>
                  <a:lnTo>
                    <a:pt x="3102" y="114"/>
                  </a:lnTo>
                  <a:lnTo>
                    <a:pt x="2987" y="142"/>
                  </a:lnTo>
                  <a:lnTo>
                    <a:pt x="2873" y="192"/>
                  </a:lnTo>
                  <a:lnTo>
                    <a:pt x="2752" y="260"/>
                  </a:lnTo>
                  <a:lnTo>
                    <a:pt x="2630" y="342"/>
                  </a:lnTo>
                  <a:lnTo>
                    <a:pt x="2620" y="349"/>
                  </a:lnTo>
                  <a:lnTo>
                    <a:pt x="2609" y="342"/>
                  </a:lnTo>
                  <a:lnTo>
                    <a:pt x="2506" y="249"/>
                  </a:lnTo>
                  <a:lnTo>
                    <a:pt x="2402" y="174"/>
                  </a:lnTo>
                  <a:lnTo>
                    <a:pt x="2298" y="110"/>
                  </a:lnTo>
                  <a:lnTo>
                    <a:pt x="2199" y="67"/>
                  </a:lnTo>
                  <a:lnTo>
                    <a:pt x="2095" y="42"/>
                  </a:lnTo>
                  <a:lnTo>
                    <a:pt x="1999" y="32"/>
                  </a:lnTo>
                  <a:close/>
                  <a:moveTo>
                    <a:pt x="1999" y="0"/>
                  </a:moveTo>
                  <a:lnTo>
                    <a:pt x="2102" y="10"/>
                  </a:lnTo>
                  <a:lnTo>
                    <a:pt x="2206" y="35"/>
                  </a:lnTo>
                  <a:lnTo>
                    <a:pt x="2309" y="78"/>
                  </a:lnTo>
                  <a:lnTo>
                    <a:pt x="2416" y="139"/>
                  </a:lnTo>
                  <a:lnTo>
                    <a:pt x="2520" y="217"/>
                  </a:lnTo>
                  <a:lnTo>
                    <a:pt x="2623" y="307"/>
                  </a:lnTo>
                  <a:lnTo>
                    <a:pt x="2745" y="224"/>
                  </a:lnTo>
                  <a:lnTo>
                    <a:pt x="2866" y="160"/>
                  </a:lnTo>
                  <a:lnTo>
                    <a:pt x="2984" y="110"/>
                  </a:lnTo>
                  <a:lnTo>
                    <a:pt x="3098" y="82"/>
                  </a:lnTo>
                  <a:lnTo>
                    <a:pt x="3212" y="71"/>
                  </a:lnTo>
                  <a:lnTo>
                    <a:pt x="3280" y="75"/>
                  </a:lnTo>
                  <a:lnTo>
                    <a:pt x="3344" y="85"/>
                  </a:lnTo>
                  <a:lnTo>
                    <a:pt x="3408" y="107"/>
                  </a:lnTo>
                  <a:lnTo>
                    <a:pt x="3491" y="150"/>
                  </a:lnTo>
                  <a:lnTo>
                    <a:pt x="3566" y="203"/>
                  </a:lnTo>
                  <a:lnTo>
                    <a:pt x="3633" y="274"/>
                  </a:lnTo>
                  <a:lnTo>
                    <a:pt x="3690" y="353"/>
                  </a:lnTo>
                  <a:lnTo>
                    <a:pt x="3744" y="446"/>
                  </a:lnTo>
                  <a:lnTo>
                    <a:pt x="3787" y="549"/>
                  </a:lnTo>
                  <a:lnTo>
                    <a:pt x="3819" y="664"/>
                  </a:lnTo>
                  <a:lnTo>
                    <a:pt x="3847" y="788"/>
                  </a:lnTo>
                  <a:lnTo>
                    <a:pt x="3876" y="788"/>
                  </a:lnTo>
                  <a:lnTo>
                    <a:pt x="3997" y="792"/>
                  </a:lnTo>
                  <a:lnTo>
                    <a:pt x="4112" y="806"/>
                  </a:lnTo>
                  <a:lnTo>
                    <a:pt x="4219" y="831"/>
                  </a:lnTo>
                  <a:lnTo>
                    <a:pt x="4315" y="863"/>
                  </a:lnTo>
                  <a:lnTo>
                    <a:pt x="4404" y="903"/>
                  </a:lnTo>
                  <a:lnTo>
                    <a:pt x="4483" y="956"/>
                  </a:lnTo>
                  <a:lnTo>
                    <a:pt x="4547" y="1017"/>
                  </a:lnTo>
                  <a:lnTo>
                    <a:pt x="4604" y="1088"/>
                  </a:lnTo>
                  <a:lnTo>
                    <a:pt x="4640" y="1160"/>
                  </a:lnTo>
                  <a:lnTo>
                    <a:pt x="4668" y="1235"/>
                  </a:lnTo>
                  <a:lnTo>
                    <a:pt x="4683" y="1317"/>
                  </a:lnTo>
                  <a:lnTo>
                    <a:pt x="4690" y="1403"/>
                  </a:lnTo>
                  <a:lnTo>
                    <a:pt x="4683" y="1517"/>
                  </a:lnTo>
                  <a:lnTo>
                    <a:pt x="4654" y="1638"/>
                  </a:lnTo>
                  <a:lnTo>
                    <a:pt x="4615" y="1767"/>
                  </a:lnTo>
                  <a:lnTo>
                    <a:pt x="4558" y="1899"/>
                  </a:lnTo>
                  <a:lnTo>
                    <a:pt x="4668" y="1981"/>
                  </a:lnTo>
                  <a:lnTo>
                    <a:pt x="4761" y="2070"/>
                  </a:lnTo>
                  <a:lnTo>
                    <a:pt x="4843" y="2159"/>
                  </a:lnTo>
                  <a:lnTo>
                    <a:pt x="4908" y="2256"/>
                  </a:lnTo>
                  <a:lnTo>
                    <a:pt x="4954" y="2352"/>
                  </a:lnTo>
                  <a:lnTo>
                    <a:pt x="4982" y="2452"/>
                  </a:lnTo>
                  <a:lnTo>
                    <a:pt x="4993" y="2552"/>
                  </a:lnTo>
                  <a:lnTo>
                    <a:pt x="4993" y="2584"/>
                  </a:lnTo>
                  <a:lnTo>
                    <a:pt x="4975" y="2688"/>
                  </a:lnTo>
                  <a:lnTo>
                    <a:pt x="4936" y="2788"/>
                  </a:lnTo>
                  <a:lnTo>
                    <a:pt x="4879" y="2884"/>
                  </a:lnTo>
                  <a:lnTo>
                    <a:pt x="4804" y="2973"/>
                  </a:lnTo>
                  <a:lnTo>
                    <a:pt x="4711" y="3059"/>
                  </a:lnTo>
                  <a:lnTo>
                    <a:pt x="4604" y="3137"/>
                  </a:lnTo>
                  <a:lnTo>
                    <a:pt x="4479" y="3212"/>
                  </a:lnTo>
                  <a:lnTo>
                    <a:pt x="4511" y="3319"/>
                  </a:lnTo>
                  <a:lnTo>
                    <a:pt x="4536" y="3427"/>
                  </a:lnTo>
                  <a:lnTo>
                    <a:pt x="4554" y="3527"/>
                  </a:lnTo>
                  <a:lnTo>
                    <a:pt x="4558" y="3623"/>
                  </a:lnTo>
                  <a:lnTo>
                    <a:pt x="4551" y="3737"/>
                  </a:lnTo>
                  <a:lnTo>
                    <a:pt x="4526" y="3841"/>
                  </a:lnTo>
                  <a:lnTo>
                    <a:pt x="4486" y="3937"/>
                  </a:lnTo>
                  <a:lnTo>
                    <a:pt x="4429" y="4023"/>
                  </a:lnTo>
                  <a:lnTo>
                    <a:pt x="4361" y="4091"/>
                  </a:lnTo>
                  <a:lnTo>
                    <a:pt x="4279" y="4148"/>
                  </a:lnTo>
                  <a:lnTo>
                    <a:pt x="4187" y="4191"/>
                  </a:lnTo>
                  <a:lnTo>
                    <a:pt x="4083" y="4219"/>
                  </a:lnTo>
                  <a:lnTo>
                    <a:pt x="3972" y="4237"/>
                  </a:lnTo>
                  <a:lnTo>
                    <a:pt x="3851" y="4244"/>
                  </a:lnTo>
                  <a:lnTo>
                    <a:pt x="3751" y="4241"/>
                  </a:lnTo>
                  <a:lnTo>
                    <a:pt x="3644" y="4230"/>
                  </a:lnTo>
                  <a:lnTo>
                    <a:pt x="3594" y="4365"/>
                  </a:lnTo>
                  <a:lnTo>
                    <a:pt x="3537" y="4487"/>
                  </a:lnTo>
                  <a:lnTo>
                    <a:pt x="3473" y="4594"/>
                  </a:lnTo>
                  <a:lnTo>
                    <a:pt x="3398" y="4687"/>
                  </a:lnTo>
                  <a:lnTo>
                    <a:pt x="3316" y="4762"/>
                  </a:lnTo>
                  <a:lnTo>
                    <a:pt x="3226" y="4819"/>
                  </a:lnTo>
                  <a:lnTo>
                    <a:pt x="3127" y="4855"/>
                  </a:lnTo>
                  <a:lnTo>
                    <a:pt x="3059" y="4869"/>
                  </a:lnTo>
                  <a:lnTo>
                    <a:pt x="2994" y="4872"/>
                  </a:lnTo>
                  <a:lnTo>
                    <a:pt x="2891" y="4862"/>
                  </a:lnTo>
                  <a:lnTo>
                    <a:pt x="2787" y="4837"/>
                  </a:lnTo>
                  <a:lnTo>
                    <a:pt x="2684" y="4790"/>
                  </a:lnTo>
                  <a:lnTo>
                    <a:pt x="2577" y="4730"/>
                  </a:lnTo>
                  <a:lnTo>
                    <a:pt x="2473" y="4655"/>
                  </a:lnTo>
                  <a:lnTo>
                    <a:pt x="2370" y="4562"/>
                  </a:lnTo>
                  <a:lnTo>
                    <a:pt x="2249" y="4644"/>
                  </a:lnTo>
                  <a:lnTo>
                    <a:pt x="2127" y="4708"/>
                  </a:lnTo>
                  <a:lnTo>
                    <a:pt x="2009" y="4758"/>
                  </a:lnTo>
                  <a:lnTo>
                    <a:pt x="1895" y="4787"/>
                  </a:lnTo>
                  <a:lnTo>
                    <a:pt x="1781" y="4797"/>
                  </a:lnTo>
                  <a:lnTo>
                    <a:pt x="1713" y="4794"/>
                  </a:lnTo>
                  <a:lnTo>
                    <a:pt x="1649" y="4783"/>
                  </a:lnTo>
                  <a:lnTo>
                    <a:pt x="1585" y="4762"/>
                  </a:lnTo>
                  <a:lnTo>
                    <a:pt x="1503" y="4722"/>
                  </a:lnTo>
                  <a:lnTo>
                    <a:pt x="1428" y="4665"/>
                  </a:lnTo>
                  <a:lnTo>
                    <a:pt x="1360" y="4597"/>
                  </a:lnTo>
                  <a:lnTo>
                    <a:pt x="1299" y="4515"/>
                  </a:lnTo>
                  <a:lnTo>
                    <a:pt x="1249" y="4423"/>
                  </a:lnTo>
                  <a:lnTo>
                    <a:pt x="1206" y="4319"/>
                  </a:lnTo>
                  <a:lnTo>
                    <a:pt x="1171" y="4205"/>
                  </a:lnTo>
                  <a:lnTo>
                    <a:pt x="1146" y="4080"/>
                  </a:lnTo>
                  <a:lnTo>
                    <a:pt x="1117" y="4080"/>
                  </a:lnTo>
                  <a:lnTo>
                    <a:pt x="996" y="4076"/>
                  </a:lnTo>
                  <a:lnTo>
                    <a:pt x="882" y="4062"/>
                  </a:lnTo>
                  <a:lnTo>
                    <a:pt x="774" y="4041"/>
                  </a:lnTo>
                  <a:lnTo>
                    <a:pt x="678" y="4008"/>
                  </a:lnTo>
                  <a:lnTo>
                    <a:pt x="589" y="3966"/>
                  </a:lnTo>
                  <a:lnTo>
                    <a:pt x="510" y="3916"/>
                  </a:lnTo>
                  <a:lnTo>
                    <a:pt x="446" y="3855"/>
                  </a:lnTo>
                  <a:lnTo>
                    <a:pt x="389" y="3784"/>
                  </a:lnTo>
                  <a:lnTo>
                    <a:pt x="350" y="3712"/>
                  </a:lnTo>
                  <a:lnTo>
                    <a:pt x="325" y="3634"/>
                  </a:lnTo>
                  <a:lnTo>
                    <a:pt x="307" y="3552"/>
                  </a:lnTo>
                  <a:lnTo>
                    <a:pt x="303" y="3466"/>
                  </a:lnTo>
                  <a:lnTo>
                    <a:pt x="311" y="3352"/>
                  </a:lnTo>
                  <a:lnTo>
                    <a:pt x="335" y="3230"/>
                  </a:lnTo>
                  <a:lnTo>
                    <a:pt x="378" y="3102"/>
                  </a:lnTo>
                  <a:lnTo>
                    <a:pt x="435" y="2973"/>
                  </a:lnTo>
                  <a:lnTo>
                    <a:pt x="325" y="2888"/>
                  </a:lnTo>
                  <a:lnTo>
                    <a:pt x="232" y="2802"/>
                  </a:lnTo>
                  <a:lnTo>
                    <a:pt x="150" y="2709"/>
                  </a:lnTo>
                  <a:lnTo>
                    <a:pt x="86" y="2616"/>
                  </a:lnTo>
                  <a:lnTo>
                    <a:pt x="39" y="2516"/>
                  </a:lnTo>
                  <a:lnTo>
                    <a:pt x="11" y="2416"/>
                  </a:lnTo>
                  <a:lnTo>
                    <a:pt x="0" y="2316"/>
                  </a:lnTo>
                  <a:lnTo>
                    <a:pt x="0" y="2288"/>
                  </a:lnTo>
                  <a:lnTo>
                    <a:pt x="18" y="2184"/>
                  </a:lnTo>
                  <a:lnTo>
                    <a:pt x="54" y="2084"/>
                  </a:lnTo>
                  <a:lnTo>
                    <a:pt x="111" y="1988"/>
                  </a:lnTo>
                  <a:lnTo>
                    <a:pt x="186" y="1895"/>
                  </a:lnTo>
                  <a:lnTo>
                    <a:pt x="282" y="1809"/>
                  </a:lnTo>
                  <a:lnTo>
                    <a:pt x="389" y="1731"/>
                  </a:lnTo>
                  <a:lnTo>
                    <a:pt x="514" y="1656"/>
                  </a:lnTo>
                  <a:lnTo>
                    <a:pt x="482" y="1549"/>
                  </a:lnTo>
                  <a:lnTo>
                    <a:pt x="457" y="1442"/>
                  </a:lnTo>
                  <a:lnTo>
                    <a:pt x="439" y="1342"/>
                  </a:lnTo>
                  <a:lnTo>
                    <a:pt x="435" y="1245"/>
                  </a:lnTo>
                  <a:lnTo>
                    <a:pt x="439" y="1156"/>
                  </a:lnTo>
                  <a:lnTo>
                    <a:pt x="457" y="1071"/>
                  </a:lnTo>
                  <a:lnTo>
                    <a:pt x="482" y="988"/>
                  </a:lnTo>
                  <a:lnTo>
                    <a:pt x="518" y="917"/>
                  </a:lnTo>
                  <a:lnTo>
                    <a:pt x="564" y="849"/>
                  </a:lnTo>
                  <a:lnTo>
                    <a:pt x="632" y="778"/>
                  </a:lnTo>
                  <a:lnTo>
                    <a:pt x="714" y="724"/>
                  </a:lnTo>
                  <a:lnTo>
                    <a:pt x="807" y="678"/>
                  </a:lnTo>
                  <a:lnTo>
                    <a:pt x="910" y="649"/>
                  </a:lnTo>
                  <a:lnTo>
                    <a:pt x="1021" y="631"/>
                  </a:lnTo>
                  <a:lnTo>
                    <a:pt x="1142" y="624"/>
                  </a:lnTo>
                  <a:lnTo>
                    <a:pt x="1242" y="628"/>
                  </a:lnTo>
                  <a:lnTo>
                    <a:pt x="1349" y="639"/>
                  </a:lnTo>
                  <a:lnTo>
                    <a:pt x="1392" y="521"/>
                  </a:lnTo>
                  <a:lnTo>
                    <a:pt x="1438" y="410"/>
                  </a:lnTo>
                  <a:lnTo>
                    <a:pt x="1495" y="314"/>
                  </a:lnTo>
                  <a:lnTo>
                    <a:pt x="1556" y="224"/>
                  </a:lnTo>
                  <a:lnTo>
                    <a:pt x="1624" y="153"/>
                  </a:lnTo>
                  <a:lnTo>
                    <a:pt x="1699" y="92"/>
                  </a:lnTo>
                  <a:lnTo>
                    <a:pt x="1777" y="46"/>
                  </a:lnTo>
                  <a:lnTo>
                    <a:pt x="1867" y="14"/>
                  </a:lnTo>
                  <a:lnTo>
                    <a:pt x="1931" y="3"/>
                  </a:lnTo>
                  <a:lnTo>
                    <a:pt x="1999" y="0"/>
                  </a:lnTo>
                  <a:close/>
                </a:path>
              </a:pathLst>
            </a:custGeom>
            <a:solidFill>
              <a:srgbClr val="1BAE96"/>
            </a:solidFill>
            <a:ln w="0">
              <a:solidFill>
                <a:srgbClr val="FF6600"/>
              </a:solidFill>
              <a:prstDash val="solid"/>
              <a:round/>
              <a:headEnd/>
              <a:tailEnd/>
            </a:ln>
          </p:spPr>
          <p:txBody>
            <a:bodyPr/>
            <a:lstStyle/>
            <a:p>
              <a:pPr marL="0" marR="0" lvl="0" indent="0" algn="l" defTabSz="914377"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sym typeface="Arial" panose="020B0604020202020204" pitchFamily="34" charset="0"/>
              </a:endParaRPr>
            </a:p>
          </p:txBody>
        </p:sp>
        <p:sp>
          <p:nvSpPr>
            <p:cNvPr id="14" name="Freeform 12">
              <a:extLst>
                <a:ext uri="{FF2B5EF4-FFF2-40B4-BE49-F238E27FC236}">
                  <a16:creationId xmlns:a16="http://schemas.microsoft.com/office/drawing/2014/main" id="{2CB44532-252E-412D-831C-05B78A9EE444}"/>
                </a:ext>
              </a:extLst>
            </p:cNvPr>
            <p:cNvSpPr>
              <a:spLocks/>
            </p:cNvSpPr>
            <p:nvPr/>
          </p:nvSpPr>
          <p:spPr bwMode="auto">
            <a:xfrm>
              <a:off x="570910" y="1601916"/>
              <a:ext cx="1656943" cy="1612644"/>
            </a:xfrm>
            <a:custGeom>
              <a:avLst/>
              <a:gdLst/>
              <a:ahLst/>
              <a:cxnLst>
                <a:cxn ang="0">
                  <a:pos x="1942" y="25"/>
                </a:cxn>
                <a:cxn ang="0">
                  <a:pos x="2235" y="193"/>
                </a:cxn>
                <a:cxn ang="0">
                  <a:pos x="2542" y="146"/>
                </a:cxn>
                <a:cxn ang="0">
                  <a:pos x="2845" y="61"/>
                </a:cxn>
                <a:cxn ang="0">
                  <a:pos x="3113" y="136"/>
                </a:cxn>
                <a:cxn ang="0">
                  <a:pos x="3305" y="360"/>
                </a:cxn>
                <a:cxn ang="0">
                  <a:pos x="3416" y="707"/>
                </a:cxn>
                <a:cxn ang="0">
                  <a:pos x="3776" y="750"/>
                </a:cxn>
                <a:cxn ang="0">
                  <a:pos x="4033" y="892"/>
                </a:cxn>
                <a:cxn ang="0">
                  <a:pos x="4158" y="1142"/>
                </a:cxn>
                <a:cxn ang="0">
                  <a:pos x="4133" y="1453"/>
                </a:cxn>
                <a:cxn ang="0">
                  <a:pos x="4166" y="1781"/>
                </a:cxn>
                <a:cxn ang="0">
                  <a:pos x="4398" y="2081"/>
                </a:cxn>
                <a:cxn ang="0">
                  <a:pos x="4422" y="2388"/>
                </a:cxn>
                <a:cxn ang="0">
                  <a:pos x="4269" y="2642"/>
                </a:cxn>
                <a:cxn ang="0">
                  <a:pos x="3976" y="2852"/>
                </a:cxn>
                <a:cxn ang="0">
                  <a:pos x="4048" y="3209"/>
                </a:cxn>
                <a:cxn ang="0">
                  <a:pos x="3987" y="3495"/>
                </a:cxn>
                <a:cxn ang="0">
                  <a:pos x="3791" y="3691"/>
                </a:cxn>
                <a:cxn ang="0">
                  <a:pos x="3487" y="3770"/>
                </a:cxn>
                <a:cxn ang="0">
                  <a:pos x="3191" y="3877"/>
                </a:cxn>
                <a:cxn ang="0">
                  <a:pos x="3020" y="4166"/>
                </a:cxn>
                <a:cxn ang="0">
                  <a:pos x="2777" y="4316"/>
                </a:cxn>
                <a:cxn ang="0">
                  <a:pos x="2495" y="4302"/>
                </a:cxn>
                <a:cxn ang="0">
                  <a:pos x="2203" y="4134"/>
                </a:cxn>
                <a:cxn ang="0">
                  <a:pos x="1896" y="4180"/>
                </a:cxn>
                <a:cxn ang="0">
                  <a:pos x="1592" y="4266"/>
                </a:cxn>
                <a:cxn ang="0">
                  <a:pos x="1325" y="4191"/>
                </a:cxn>
                <a:cxn ang="0">
                  <a:pos x="1132" y="3970"/>
                </a:cxn>
                <a:cxn ang="0">
                  <a:pos x="1021" y="3623"/>
                </a:cxn>
                <a:cxn ang="0">
                  <a:pos x="661" y="3580"/>
                </a:cxn>
                <a:cxn ang="0">
                  <a:pos x="404" y="3434"/>
                </a:cxn>
                <a:cxn ang="0">
                  <a:pos x="279" y="3188"/>
                </a:cxn>
                <a:cxn ang="0">
                  <a:pos x="304" y="2874"/>
                </a:cxn>
                <a:cxn ang="0">
                  <a:pos x="272" y="2545"/>
                </a:cxn>
                <a:cxn ang="0">
                  <a:pos x="40" y="2245"/>
                </a:cxn>
                <a:cxn ang="0">
                  <a:pos x="15" y="1938"/>
                </a:cxn>
                <a:cxn ang="0">
                  <a:pos x="168" y="1685"/>
                </a:cxn>
                <a:cxn ang="0">
                  <a:pos x="461" y="1474"/>
                </a:cxn>
                <a:cxn ang="0">
                  <a:pos x="389" y="1117"/>
                </a:cxn>
                <a:cxn ang="0">
                  <a:pos x="450" y="832"/>
                </a:cxn>
                <a:cxn ang="0">
                  <a:pos x="646" y="635"/>
                </a:cxn>
                <a:cxn ang="0">
                  <a:pos x="950" y="560"/>
                </a:cxn>
                <a:cxn ang="0">
                  <a:pos x="1246" y="450"/>
                </a:cxn>
                <a:cxn ang="0">
                  <a:pos x="1417" y="161"/>
                </a:cxn>
                <a:cxn ang="0">
                  <a:pos x="1656" y="14"/>
                </a:cxn>
              </a:cxnLst>
              <a:rect l="0" t="0" r="r" b="b"/>
              <a:pathLst>
                <a:path w="4437" h="4330">
                  <a:moveTo>
                    <a:pt x="1749" y="0"/>
                  </a:moveTo>
                  <a:lnTo>
                    <a:pt x="1846" y="3"/>
                  </a:lnTo>
                  <a:lnTo>
                    <a:pt x="1942" y="25"/>
                  </a:lnTo>
                  <a:lnTo>
                    <a:pt x="2038" y="64"/>
                  </a:lnTo>
                  <a:lnTo>
                    <a:pt x="2135" y="121"/>
                  </a:lnTo>
                  <a:lnTo>
                    <a:pt x="2235" y="193"/>
                  </a:lnTo>
                  <a:lnTo>
                    <a:pt x="2331" y="278"/>
                  </a:lnTo>
                  <a:lnTo>
                    <a:pt x="2438" y="203"/>
                  </a:lnTo>
                  <a:lnTo>
                    <a:pt x="2542" y="146"/>
                  </a:lnTo>
                  <a:lnTo>
                    <a:pt x="2649" y="100"/>
                  </a:lnTo>
                  <a:lnTo>
                    <a:pt x="2749" y="75"/>
                  </a:lnTo>
                  <a:lnTo>
                    <a:pt x="2845" y="61"/>
                  </a:lnTo>
                  <a:lnTo>
                    <a:pt x="2941" y="68"/>
                  </a:lnTo>
                  <a:lnTo>
                    <a:pt x="3031" y="93"/>
                  </a:lnTo>
                  <a:lnTo>
                    <a:pt x="3113" y="136"/>
                  </a:lnTo>
                  <a:lnTo>
                    <a:pt x="3188" y="196"/>
                  </a:lnTo>
                  <a:lnTo>
                    <a:pt x="3252" y="271"/>
                  </a:lnTo>
                  <a:lnTo>
                    <a:pt x="3305" y="360"/>
                  </a:lnTo>
                  <a:lnTo>
                    <a:pt x="3352" y="464"/>
                  </a:lnTo>
                  <a:lnTo>
                    <a:pt x="3387" y="578"/>
                  </a:lnTo>
                  <a:lnTo>
                    <a:pt x="3416" y="707"/>
                  </a:lnTo>
                  <a:lnTo>
                    <a:pt x="3544" y="710"/>
                  </a:lnTo>
                  <a:lnTo>
                    <a:pt x="3666" y="725"/>
                  </a:lnTo>
                  <a:lnTo>
                    <a:pt x="3776" y="750"/>
                  </a:lnTo>
                  <a:lnTo>
                    <a:pt x="3873" y="785"/>
                  </a:lnTo>
                  <a:lnTo>
                    <a:pt x="3959" y="832"/>
                  </a:lnTo>
                  <a:lnTo>
                    <a:pt x="4033" y="892"/>
                  </a:lnTo>
                  <a:lnTo>
                    <a:pt x="4091" y="967"/>
                  </a:lnTo>
                  <a:lnTo>
                    <a:pt x="4133" y="1049"/>
                  </a:lnTo>
                  <a:lnTo>
                    <a:pt x="4158" y="1142"/>
                  </a:lnTo>
                  <a:lnTo>
                    <a:pt x="4166" y="1239"/>
                  </a:lnTo>
                  <a:lnTo>
                    <a:pt x="4158" y="1342"/>
                  </a:lnTo>
                  <a:lnTo>
                    <a:pt x="4133" y="1453"/>
                  </a:lnTo>
                  <a:lnTo>
                    <a:pt x="4098" y="1571"/>
                  </a:lnTo>
                  <a:lnTo>
                    <a:pt x="4044" y="1688"/>
                  </a:lnTo>
                  <a:lnTo>
                    <a:pt x="4166" y="1781"/>
                  </a:lnTo>
                  <a:lnTo>
                    <a:pt x="4265" y="1878"/>
                  </a:lnTo>
                  <a:lnTo>
                    <a:pt x="4344" y="1978"/>
                  </a:lnTo>
                  <a:lnTo>
                    <a:pt x="4398" y="2081"/>
                  </a:lnTo>
                  <a:lnTo>
                    <a:pt x="4430" y="2188"/>
                  </a:lnTo>
                  <a:lnTo>
                    <a:pt x="4437" y="2295"/>
                  </a:lnTo>
                  <a:lnTo>
                    <a:pt x="4422" y="2388"/>
                  </a:lnTo>
                  <a:lnTo>
                    <a:pt x="4387" y="2474"/>
                  </a:lnTo>
                  <a:lnTo>
                    <a:pt x="4337" y="2559"/>
                  </a:lnTo>
                  <a:lnTo>
                    <a:pt x="4269" y="2642"/>
                  </a:lnTo>
                  <a:lnTo>
                    <a:pt x="4187" y="2717"/>
                  </a:lnTo>
                  <a:lnTo>
                    <a:pt x="4087" y="2788"/>
                  </a:lnTo>
                  <a:lnTo>
                    <a:pt x="3976" y="2852"/>
                  </a:lnTo>
                  <a:lnTo>
                    <a:pt x="4016" y="2977"/>
                  </a:lnTo>
                  <a:lnTo>
                    <a:pt x="4037" y="3095"/>
                  </a:lnTo>
                  <a:lnTo>
                    <a:pt x="4048" y="3209"/>
                  </a:lnTo>
                  <a:lnTo>
                    <a:pt x="4041" y="3313"/>
                  </a:lnTo>
                  <a:lnTo>
                    <a:pt x="4023" y="3409"/>
                  </a:lnTo>
                  <a:lnTo>
                    <a:pt x="3987" y="3495"/>
                  </a:lnTo>
                  <a:lnTo>
                    <a:pt x="3937" y="3573"/>
                  </a:lnTo>
                  <a:lnTo>
                    <a:pt x="3869" y="3641"/>
                  </a:lnTo>
                  <a:lnTo>
                    <a:pt x="3791" y="3691"/>
                  </a:lnTo>
                  <a:lnTo>
                    <a:pt x="3702" y="3730"/>
                  </a:lnTo>
                  <a:lnTo>
                    <a:pt x="3598" y="3755"/>
                  </a:lnTo>
                  <a:lnTo>
                    <a:pt x="3487" y="3770"/>
                  </a:lnTo>
                  <a:lnTo>
                    <a:pt x="3366" y="3766"/>
                  </a:lnTo>
                  <a:lnTo>
                    <a:pt x="3234" y="3755"/>
                  </a:lnTo>
                  <a:lnTo>
                    <a:pt x="3191" y="3877"/>
                  </a:lnTo>
                  <a:lnTo>
                    <a:pt x="3141" y="3987"/>
                  </a:lnTo>
                  <a:lnTo>
                    <a:pt x="3084" y="4084"/>
                  </a:lnTo>
                  <a:lnTo>
                    <a:pt x="3020" y="4166"/>
                  </a:lnTo>
                  <a:lnTo>
                    <a:pt x="2945" y="4234"/>
                  </a:lnTo>
                  <a:lnTo>
                    <a:pt x="2866" y="4284"/>
                  </a:lnTo>
                  <a:lnTo>
                    <a:pt x="2777" y="4316"/>
                  </a:lnTo>
                  <a:lnTo>
                    <a:pt x="2684" y="4330"/>
                  </a:lnTo>
                  <a:lnTo>
                    <a:pt x="2592" y="4323"/>
                  </a:lnTo>
                  <a:lnTo>
                    <a:pt x="2495" y="4302"/>
                  </a:lnTo>
                  <a:lnTo>
                    <a:pt x="2399" y="4262"/>
                  </a:lnTo>
                  <a:lnTo>
                    <a:pt x="2302" y="4205"/>
                  </a:lnTo>
                  <a:lnTo>
                    <a:pt x="2203" y="4134"/>
                  </a:lnTo>
                  <a:lnTo>
                    <a:pt x="2106" y="4048"/>
                  </a:lnTo>
                  <a:lnTo>
                    <a:pt x="1999" y="4123"/>
                  </a:lnTo>
                  <a:lnTo>
                    <a:pt x="1896" y="4180"/>
                  </a:lnTo>
                  <a:lnTo>
                    <a:pt x="1789" y="4227"/>
                  </a:lnTo>
                  <a:lnTo>
                    <a:pt x="1689" y="4252"/>
                  </a:lnTo>
                  <a:lnTo>
                    <a:pt x="1592" y="4266"/>
                  </a:lnTo>
                  <a:lnTo>
                    <a:pt x="1496" y="4259"/>
                  </a:lnTo>
                  <a:lnTo>
                    <a:pt x="1407" y="4234"/>
                  </a:lnTo>
                  <a:lnTo>
                    <a:pt x="1325" y="4191"/>
                  </a:lnTo>
                  <a:lnTo>
                    <a:pt x="1250" y="4134"/>
                  </a:lnTo>
                  <a:lnTo>
                    <a:pt x="1185" y="4059"/>
                  </a:lnTo>
                  <a:lnTo>
                    <a:pt x="1132" y="3970"/>
                  </a:lnTo>
                  <a:lnTo>
                    <a:pt x="1085" y="3866"/>
                  </a:lnTo>
                  <a:lnTo>
                    <a:pt x="1050" y="3752"/>
                  </a:lnTo>
                  <a:lnTo>
                    <a:pt x="1021" y="3623"/>
                  </a:lnTo>
                  <a:lnTo>
                    <a:pt x="893" y="3620"/>
                  </a:lnTo>
                  <a:lnTo>
                    <a:pt x="771" y="3605"/>
                  </a:lnTo>
                  <a:lnTo>
                    <a:pt x="661" y="3580"/>
                  </a:lnTo>
                  <a:lnTo>
                    <a:pt x="564" y="3545"/>
                  </a:lnTo>
                  <a:lnTo>
                    <a:pt x="479" y="3495"/>
                  </a:lnTo>
                  <a:lnTo>
                    <a:pt x="404" y="3434"/>
                  </a:lnTo>
                  <a:lnTo>
                    <a:pt x="347" y="3363"/>
                  </a:lnTo>
                  <a:lnTo>
                    <a:pt x="304" y="3281"/>
                  </a:lnTo>
                  <a:lnTo>
                    <a:pt x="279" y="3188"/>
                  </a:lnTo>
                  <a:lnTo>
                    <a:pt x="272" y="3088"/>
                  </a:lnTo>
                  <a:lnTo>
                    <a:pt x="279" y="2984"/>
                  </a:lnTo>
                  <a:lnTo>
                    <a:pt x="304" y="2874"/>
                  </a:lnTo>
                  <a:lnTo>
                    <a:pt x="339" y="2759"/>
                  </a:lnTo>
                  <a:lnTo>
                    <a:pt x="393" y="2638"/>
                  </a:lnTo>
                  <a:lnTo>
                    <a:pt x="272" y="2545"/>
                  </a:lnTo>
                  <a:lnTo>
                    <a:pt x="172" y="2449"/>
                  </a:lnTo>
                  <a:lnTo>
                    <a:pt x="93" y="2349"/>
                  </a:lnTo>
                  <a:lnTo>
                    <a:pt x="40" y="2245"/>
                  </a:lnTo>
                  <a:lnTo>
                    <a:pt x="8" y="2138"/>
                  </a:lnTo>
                  <a:lnTo>
                    <a:pt x="0" y="2031"/>
                  </a:lnTo>
                  <a:lnTo>
                    <a:pt x="15" y="1938"/>
                  </a:lnTo>
                  <a:lnTo>
                    <a:pt x="50" y="1853"/>
                  </a:lnTo>
                  <a:lnTo>
                    <a:pt x="100" y="1767"/>
                  </a:lnTo>
                  <a:lnTo>
                    <a:pt x="168" y="1685"/>
                  </a:lnTo>
                  <a:lnTo>
                    <a:pt x="250" y="1610"/>
                  </a:lnTo>
                  <a:lnTo>
                    <a:pt x="350" y="1538"/>
                  </a:lnTo>
                  <a:lnTo>
                    <a:pt x="461" y="1474"/>
                  </a:lnTo>
                  <a:lnTo>
                    <a:pt x="422" y="1349"/>
                  </a:lnTo>
                  <a:lnTo>
                    <a:pt x="400" y="1231"/>
                  </a:lnTo>
                  <a:lnTo>
                    <a:pt x="389" y="1117"/>
                  </a:lnTo>
                  <a:lnTo>
                    <a:pt x="397" y="1014"/>
                  </a:lnTo>
                  <a:lnTo>
                    <a:pt x="414" y="917"/>
                  </a:lnTo>
                  <a:lnTo>
                    <a:pt x="450" y="832"/>
                  </a:lnTo>
                  <a:lnTo>
                    <a:pt x="500" y="753"/>
                  </a:lnTo>
                  <a:lnTo>
                    <a:pt x="568" y="689"/>
                  </a:lnTo>
                  <a:lnTo>
                    <a:pt x="646" y="635"/>
                  </a:lnTo>
                  <a:lnTo>
                    <a:pt x="736" y="596"/>
                  </a:lnTo>
                  <a:lnTo>
                    <a:pt x="839" y="571"/>
                  </a:lnTo>
                  <a:lnTo>
                    <a:pt x="950" y="560"/>
                  </a:lnTo>
                  <a:lnTo>
                    <a:pt x="1071" y="560"/>
                  </a:lnTo>
                  <a:lnTo>
                    <a:pt x="1203" y="575"/>
                  </a:lnTo>
                  <a:lnTo>
                    <a:pt x="1246" y="450"/>
                  </a:lnTo>
                  <a:lnTo>
                    <a:pt x="1296" y="339"/>
                  </a:lnTo>
                  <a:lnTo>
                    <a:pt x="1353" y="243"/>
                  </a:lnTo>
                  <a:lnTo>
                    <a:pt x="1417" y="161"/>
                  </a:lnTo>
                  <a:lnTo>
                    <a:pt x="1489" y="96"/>
                  </a:lnTo>
                  <a:lnTo>
                    <a:pt x="1571" y="46"/>
                  </a:lnTo>
                  <a:lnTo>
                    <a:pt x="1656" y="14"/>
                  </a:lnTo>
                  <a:lnTo>
                    <a:pt x="1749" y="0"/>
                  </a:lnTo>
                  <a:close/>
                </a:path>
              </a:pathLst>
            </a:custGeom>
            <a:solidFill>
              <a:schemeClr val="tx1"/>
            </a:solidFill>
            <a:ln w="6350" cap="flat" cmpd="sng" algn="ctr">
              <a:noFill/>
              <a:prstDash val="solid"/>
              <a:miter lim="800000"/>
              <a:headEnd/>
              <a:tailEnd/>
            </a:ln>
            <a:effectLst/>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prstClr val="white"/>
                </a:solidFill>
                <a:effectLst/>
                <a:uLnTx/>
                <a:uFillTx/>
                <a:latin typeface="Roboto Thin"/>
                <a:ea typeface="+mn-ea"/>
                <a:cs typeface="Arial" panose="020B0604020202020204" pitchFamily="34" charset="0"/>
                <a:sym typeface="Arial" panose="020B0604020202020204" pitchFamily="34" charset="0"/>
              </a:endParaRPr>
            </a:p>
          </p:txBody>
        </p:sp>
      </p:grpSp>
      <p:sp>
        <p:nvSpPr>
          <p:cNvPr id="15" name="Rectángulo 14">
            <a:extLst>
              <a:ext uri="{FF2B5EF4-FFF2-40B4-BE49-F238E27FC236}">
                <a16:creationId xmlns:a16="http://schemas.microsoft.com/office/drawing/2014/main" id="{D5AD4CF0-3742-440B-9EDC-47E2042ED61D}"/>
              </a:ext>
            </a:extLst>
          </p:cNvPr>
          <p:cNvSpPr/>
          <p:nvPr/>
        </p:nvSpPr>
        <p:spPr>
          <a:xfrm>
            <a:off x="9283338" y="2980759"/>
            <a:ext cx="2506472" cy="1877437"/>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s-CO" sz="1400" dirty="0">
              <a:solidFill>
                <a:srgbClr val="FFFFFF"/>
              </a:solidFill>
              <a:latin typeface="Century Gothic" panose="020B0502020202020204" pitchFamily="34" charset="0"/>
              <a:cs typeface="Arial" panose="020B0604020202020204" pitchFamily="34" charset="0"/>
              <a:sym typeface="Arial" panose="020B0604020202020204" pitchFamily="34" charset="0"/>
            </a:endParaRPr>
          </a:p>
          <a:p>
            <a:pPr marL="0" marR="0" lvl="0" indent="0" algn="ctr" defTabSz="914377" rtl="0" eaLnBrk="1" fontAlgn="auto" latinLnBrk="0" hangingPunct="1">
              <a:lnSpc>
                <a:spcPct val="100000"/>
              </a:lnSpc>
              <a:spcBef>
                <a:spcPts val="0"/>
              </a:spcBef>
              <a:spcAft>
                <a:spcPts val="0"/>
              </a:spcAft>
              <a:buClrTx/>
              <a:buSzTx/>
              <a:buFontTx/>
              <a:buNone/>
              <a:tabLst/>
              <a:defRPr/>
            </a:pPr>
            <a:r>
              <a:rPr lang="es-CO" sz="1400" dirty="0">
                <a:solidFill>
                  <a:srgbClr val="FFFFFF"/>
                </a:solidFill>
                <a:latin typeface="Century Gothic" panose="020B0502020202020204" pitchFamily="34" charset="0"/>
                <a:cs typeface="Arial" panose="020B0604020202020204" pitchFamily="34" charset="0"/>
                <a:sym typeface="Arial" panose="020B0604020202020204" pitchFamily="34" charset="0"/>
              </a:rPr>
              <a:t>Alrededor de </a:t>
            </a:r>
            <a:r>
              <a:rPr kumimoji="0" lang="es-CO"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7.800 mujeres beneficiadas </a:t>
            </a:r>
            <a:br>
              <a:rPr kumimoji="0" lang="es-CO" sz="16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br>
            <a:r>
              <a:rPr kumimoji="0" lang="es-CO" sz="14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or generación de empleo y el desarrollo de acciones de emprendimiento en proyectos 4G.</a:t>
            </a:r>
          </a:p>
        </p:txBody>
      </p:sp>
      <p:sp>
        <p:nvSpPr>
          <p:cNvPr id="16" name="Rectángulo 15">
            <a:extLst>
              <a:ext uri="{FF2B5EF4-FFF2-40B4-BE49-F238E27FC236}">
                <a16:creationId xmlns:a16="http://schemas.microsoft.com/office/drawing/2014/main" id="{84A878A5-7456-4144-BF83-5B2368E257AE}"/>
              </a:ext>
            </a:extLst>
          </p:cNvPr>
          <p:cNvSpPr/>
          <p:nvPr/>
        </p:nvSpPr>
        <p:spPr>
          <a:xfrm>
            <a:off x="2158408" y="5820306"/>
            <a:ext cx="6836616" cy="261610"/>
          </a:xfrm>
          <a:prstGeom prst="rect">
            <a:avLst/>
          </a:prstGeom>
          <a:solidFill>
            <a:schemeClr val="tx1"/>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Fortalecimiento de iniciativas y proyectos productivos a mujeres – Proyecto Pacífico 2</a:t>
            </a:r>
          </a:p>
        </p:txBody>
      </p:sp>
    </p:spTree>
    <p:extLst>
      <p:ext uri="{BB962C8B-B14F-4D97-AF65-F5344CB8AC3E}">
        <p14:creationId xmlns:p14="http://schemas.microsoft.com/office/powerpoint/2010/main" val="226913295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8">
            <a:extLst>
              <a:ext uri="{FF2B5EF4-FFF2-40B4-BE49-F238E27FC236}">
                <a16:creationId xmlns:a16="http://schemas.microsoft.com/office/drawing/2014/main" id="{2BE7339C-A041-4032-AFF8-098886B90F9C}"/>
              </a:ext>
            </a:extLst>
          </p:cNvPr>
          <p:cNvSpPr/>
          <p:nvPr/>
        </p:nvSpPr>
        <p:spPr>
          <a:xfrm>
            <a:off x="3334837" y="2773166"/>
            <a:ext cx="3234777" cy="938719"/>
          </a:xfrm>
          <a:prstGeom prst="rect">
            <a:avLst/>
          </a:prstGeom>
          <a:solidFill>
            <a:schemeClr val="tx1"/>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Productivo  de confección de ropa para niñas “Cristal </a:t>
            </a:r>
            <a:r>
              <a:rPr kumimoji="0" lang="es-CO" sz="11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Girl</a:t>
            </a: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conformado por madres cabeza de familia del corregimiento de la playa.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Cartagena - Barranquilla</a:t>
            </a:r>
          </a:p>
        </p:txBody>
      </p:sp>
      <p:pic>
        <p:nvPicPr>
          <p:cNvPr id="10" name="Imagen 9">
            <a:extLst>
              <a:ext uri="{FF2B5EF4-FFF2-40B4-BE49-F238E27FC236}">
                <a16:creationId xmlns:a16="http://schemas.microsoft.com/office/drawing/2014/main" id="{F8559F3D-2EF7-4D71-98C7-7067FAAEE6C7}"/>
              </a:ext>
            </a:extLst>
          </p:cNvPr>
          <p:cNvPicPr>
            <a:picLocks noChangeAspect="1"/>
          </p:cNvPicPr>
          <p:nvPr/>
        </p:nvPicPr>
        <p:blipFill>
          <a:blip r:embed="rId2"/>
          <a:stretch>
            <a:fillRect/>
          </a:stretch>
        </p:blipFill>
        <p:spPr>
          <a:xfrm>
            <a:off x="489499" y="1663636"/>
            <a:ext cx="2571099" cy="1061829"/>
          </a:xfrm>
          <a:prstGeom prst="rect">
            <a:avLst/>
          </a:prstGeom>
        </p:spPr>
      </p:pic>
      <p:pic>
        <p:nvPicPr>
          <p:cNvPr id="11" name="Imagen 10">
            <a:extLst>
              <a:ext uri="{FF2B5EF4-FFF2-40B4-BE49-F238E27FC236}">
                <a16:creationId xmlns:a16="http://schemas.microsoft.com/office/drawing/2014/main" id="{44CCC841-3DC7-4FAD-885C-358EB066DEE7}"/>
              </a:ext>
            </a:extLst>
          </p:cNvPr>
          <p:cNvPicPr>
            <a:picLocks noChangeAspect="1"/>
          </p:cNvPicPr>
          <p:nvPr/>
        </p:nvPicPr>
        <p:blipFill rotWithShape="1">
          <a:blip r:embed="rId3"/>
          <a:srcRect l="49154" t="59902" r="14154" b="16471"/>
          <a:stretch/>
        </p:blipFill>
        <p:spPr>
          <a:xfrm>
            <a:off x="6690225" y="2708600"/>
            <a:ext cx="2785403" cy="1006371"/>
          </a:xfrm>
          <a:prstGeom prst="rect">
            <a:avLst/>
          </a:prstGeom>
        </p:spPr>
      </p:pic>
      <p:sp>
        <p:nvSpPr>
          <p:cNvPr id="12" name="Rectángulo 11">
            <a:extLst>
              <a:ext uri="{FF2B5EF4-FFF2-40B4-BE49-F238E27FC236}">
                <a16:creationId xmlns:a16="http://schemas.microsoft.com/office/drawing/2014/main" id="{6F5EC1B8-A776-4625-9902-8322B2F554E4}"/>
              </a:ext>
            </a:extLst>
          </p:cNvPr>
          <p:cNvSpPr/>
          <p:nvPr/>
        </p:nvSpPr>
        <p:spPr>
          <a:xfrm>
            <a:off x="3060597" y="1663635"/>
            <a:ext cx="2785403" cy="1062599"/>
          </a:xfrm>
          <a:prstGeom prst="rect">
            <a:avLst/>
          </a:prstGeom>
          <a:solidFill>
            <a:srgbClr val="FF6600"/>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051"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s Productivo viveros forestales con las mujeres de los Consejos comunitarios de Guaymaral, los Almendros, San Nicolas y el Rodeo y las veredas de Naranjal y la Cuchilla –  Proyecto Mar 1</a:t>
            </a:r>
          </a:p>
        </p:txBody>
      </p:sp>
      <p:pic>
        <p:nvPicPr>
          <p:cNvPr id="13" name="Imagen 12">
            <a:extLst>
              <a:ext uri="{FF2B5EF4-FFF2-40B4-BE49-F238E27FC236}">
                <a16:creationId xmlns:a16="http://schemas.microsoft.com/office/drawing/2014/main" id="{5B31436C-AA21-4118-AF73-369C3E8A36C4}"/>
              </a:ext>
            </a:extLst>
          </p:cNvPr>
          <p:cNvPicPr>
            <a:picLocks noChangeAspect="1"/>
          </p:cNvPicPr>
          <p:nvPr/>
        </p:nvPicPr>
        <p:blipFill rotWithShape="1">
          <a:blip r:embed="rId4"/>
          <a:srcRect t="23706" b="11564"/>
          <a:stretch/>
        </p:blipFill>
        <p:spPr>
          <a:xfrm>
            <a:off x="1512229" y="3794065"/>
            <a:ext cx="2462809" cy="1139667"/>
          </a:xfrm>
          <a:prstGeom prst="rect">
            <a:avLst/>
          </a:prstGeom>
        </p:spPr>
      </p:pic>
      <p:sp>
        <p:nvSpPr>
          <p:cNvPr id="14" name="Rectángulo 13">
            <a:extLst>
              <a:ext uri="{FF2B5EF4-FFF2-40B4-BE49-F238E27FC236}">
                <a16:creationId xmlns:a16="http://schemas.microsoft.com/office/drawing/2014/main" id="{A7F09F17-2F31-4EDE-BB10-F57F0E146CF4}"/>
              </a:ext>
            </a:extLst>
          </p:cNvPr>
          <p:cNvSpPr/>
          <p:nvPr/>
        </p:nvSpPr>
        <p:spPr>
          <a:xfrm>
            <a:off x="3975038" y="3809900"/>
            <a:ext cx="3474721" cy="1107996"/>
          </a:xfrm>
          <a:prstGeom prst="rect">
            <a:avLst/>
          </a:prstGeom>
          <a:solidFill>
            <a:schemeClr val="bg1">
              <a:lumMod val="50000"/>
            </a:schemeClr>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ujeres del Bajo Cauca y Nordeste Antioqueño recibieron becas para Educación Superior y un apoyo económico para solventar sus gastos.  Cuarta Entrega de Becas del Fondo de Educación Mujer y Desarrollo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Portuario OCENSA </a:t>
            </a:r>
          </a:p>
        </p:txBody>
      </p:sp>
      <p:pic>
        <p:nvPicPr>
          <p:cNvPr id="15" name="Imagen 14">
            <a:extLst>
              <a:ext uri="{FF2B5EF4-FFF2-40B4-BE49-F238E27FC236}">
                <a16:creationId xmlns:a16="http://schemas.microsoft.com/office/drawing/2014/main" id="{39C4B2F5-AB45-42AB-A81E-D9AD3BE94C59}"/>
              </a:ext>
            </a:extLst>
          </p:cNvPr>
          <p:cNvPicPr>
            <a:picLocks noChangeAspect="1"/>
          </p:cNvPicPr>
          <p:nvPr/>
        </p:nvPicPr>
        <p:blipFill>
          <a:blip r:embed="rId5"/>
          <a:stretch>
            <a:fillRect/>
          </a:stretch>
        </p:blipFill>
        <p:spPr>
          <a:xfrm>
            <a:off x="8082927" y="4966307"/>
            <a:ext cx="2082933" cy="1098155"/>
          </a:xfrm>
          <a:prstGeom prst="rect">
            <a:avLst/>
          </a:prstGeom>
        </p:spPr>
      </p:pic>
      <p:sp>
        <p:nvSpPr>
          <p:cNvPr id="16" name="Rectángulo 15">
            <a:extLst>
              <a:ext uri="{FF2B5EF4-FFF2-40B4-BE49-F238E27FC236}">
                <a16:creationId xmlns:a16="http://schemas.microsoft.com/office/drawing/2014/main" id="{88DE0D33-7678-4800-B914-D83E394FC92F}"/>
              </a:ext>
            </a:extLst>
          </p:cNvPr>
          <p:cNvSpPr/>
          <p:nvPr/>
        </p:nvSpPr>
        <p:spPr>
          <a:xfrm>
            <a:off x="5650010" y="4966307"/>
            <a:ext cx="2432919" cy="1107996"/>
          </a:xfrm>
          <a:prstGeom prst="rect">
            <a:avLst/>
          </a:prstGeom>
          <a:solidFill>
            <a:srgbClr val="FF6600"/>
          </a:solid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s Productivo Asociación Mujeres Talento </a:t>
            </a:r>
            <a:r>
              <a:rPr kumimoji="0" lang="es-CO" sz="1100" b="0"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Jericoano</a:t>
            </a: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Dentro de la asociación son 14 grupos conformadas por 50 mujeres.</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yecto: Conexión Norte</a:t>
            </a:r>
          </a:p>
        </p:txBody>
      </p:sp>
      <p:sp>
        <p:nvSpPr>
          <p:cNvPr id="17" name="Marcador de contenido 1">
            <a:extLst>
              <a:ext uri="{FF2B5EF4-FFF2-40B4-BE49-F238E27FC236}">
                <a16:creationId xmlns:a16="http://schemas.microsoft.com/office/drawing/2014/main" id="{0C572033-19CE-454B-9CC3-2503826BAA6A}"/>
              </a:ext>
            </a:extLst>
          </p:cNvPr>
          <p:cNvSpPr txBox="1">
            <a:spLocks/>
          </p:cNvSpPr>
          <p:nvPr/>
        </p:nvSpPr>
        <p:spPr bwMode="auto">
          <a:xfrm>
            <a:off x="2" y="793539"/>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LGUNOS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C</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SOS DE </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É</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XITO…</a:t>
            </a:r>
            <a:endParaRPr kumimoji="0" lang="es-CO" sz="2000" b="1" i="0" u="none" strike="noStrike" kern="1200" cap="none" spc="0" normalizeH="0" baseline="0" noProof="0" dirty="0">
              <a:ln>
                <a:noFill/>
              </a:ln>
              <a:solidFill>
                <a:srgbClr val="386295"/>
              </a:solidFill>
              <a:effectLst/>
              <a:uLnTx/>
              <a:uFillTx/>
              <a:latin typeface="Century Gothic" panose="020B0502020202020204" pitchFamily="34" charset="0"/>
              <a:ea typeface="+mn-ea"/>
              <a:cs typeface="+mn-cs"/>
              <a:sym typeface="Arial"/>
            </a:endParaRPr>
          </a:p>
        </p:txBody>
      </p:sp>
    </p:spTree>
    <p:extLst>
      <p:ext uri="{BB962C8B-B14F-4D97-AF65-F5344CB8AC3E}">
        <p14:creationId xmlns:p14="http://schemas.microsoft.com/office/powerpoint/2010/main" val="222701426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texto 1">
            <a:extLst>
              <a:ext uri="{FF2B5EF4-FFF2-40B4-BE49-F238E27FC236}">
                <a16:creationId xmlns:a16="http://schemas.microsoft.com/office/drawing/2014/main" id="{E36D89D8-E422-43F8-86EA-BB7964E4A6AE}"/>
              </a:ext>
            </a:extLst>
          </p:cNvPr>
          <p:cNvSpPr>
            <a:spLocks noGrp="1"/>
          </p:cNvSpPr>
          <p:nvPr>
            <p:ph type="body" idx="1"/>
          </p:nvPr>
        </p:nvSpPr>
        <p:spPr>
          <a:xfrm>
            <a:off x="410122" y="3013029"/>
            <a:ext cx="9262515" cy="1271864"/>
          </a:xfrm>
        </p:spPr>
        <p:txBody>
          <a:bodyPr/>
          <a:lstStyle/>
          <a:p>
            <a:r>
              <a:rPr lang="es-CO" dirty="0">
                <a:latin typeface="Century Gothic" panose="020B0502020202020204" pitchFamily="34" charset="0"/>
              </a:rPr>
              <a:t>¡GRACIAS!</a:t>
            </a:r>
          </a:p>
        </p:txBody>
      </p:sp>
    </p:spTree>
    <p:extLst>
      <p:ext uri="{BB962C8B-B14F-4D97-AF65-F5344CB8AC3E}">
        <p14:creationId xmlns:p14="http://schemas.microsoft.com/office/powerpoint/2010/main" val="275529650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n 4">
            <a:extLst>
              <a:ext uri="{FF2B5EF4-FFF2-40B4-BE49-F238E27FC236}">
                <a16:creationId xmlns:a16="http://schemas.microsoft.com/office/drawing/2014/main" id="{F64729D3-0A05-4690-B3F2-CF92F3B18A36}"/>
              </a:ext>
            </a:extLst>
          </p:cNvPr>
          <p:cNvPicPr>
            <a:picLocks noChangeAspect="1"/>
          </p:cNvPicPr>
          <p:nvPr/>
        </p:nvPicPr>
        <p:blipFill rotWithShape="1">
          <a:blip r:embed="rId2"/>
          <a:srcRect l="8370" t="6355" r="9240" b="15925"/>
          <a:stretch/>
        </p:blipFill>
        <p:spPr>
          <a:xfrm>
            <a:off x="-1" y="1438787"/>
            <a:ext cx="7977809" cy="4465983"/>
          </a:xfrm>
          <a:prstGeom prst="rect">
            <a:avLst/>
          </a:prstGeom>
        </p:spPr>
      </p:pic>
      <p:sp>
        <p:nvSpPr>
          <p:cNvPr id="6" name="Rectángulo 5">
            <a:extLst>
              <a:ext uri="{FF2B5EF4-FFF2-40B4-BE49-F238E27FC236}">
                <a16:creationId xmlns:a16="http://schemas.microsoft.com/office/drawing/2014/main" id="{C647A9F4-4C97-4D4F-929A-666B1763E8F0}"/>
              </a:ext>
            </a:extLst>
          </p:cNvPr>
          <p:cNvSpPr/>
          <p:nvPr/>
        </p:nvSpPr>
        <p:spPr>
          <a:xfrm>
            <a:off x="7977808" y="3429000"/>
            <a:ext cx="4191462" cy="1600438"/>
          </a:xfrm>
          <a:prstGeom prst="rect">
            <a:avLst/>
          </a:prstGeom>
          <a:noFill/>
        </p:spPr>
        <p:txBody>
          <a:bodyPr wrap="square">
            <a:spAutoFit/>
          </a:bodyPr>
          <a:lstStyle/>
          <a:p>
            <a:pPr algn="ctr"/>
            <a:r>
              <a:rPr lang="es-CO" sz="1400" dirty="0">
                <a:solidFill>
                  <a:srgbClr val="010407"/>
                </a:solidFill>
                <a:latin typeface="Century Gothic" panose="020B0502020202020204" pitchFamily="34" charset="0"/>
              </a:rPr>
              <a:t>La ANI, a través de los contratos de concesión de los proyectos, ha definido obligaciones sociales dentro de las cuales se encuentran programas que contienen actividades armónicas con la </a:t>
            </a:r>
            <a:r>
              <a:rPr lang="es-CO" sz="1400" b="1" dirty="0">
                <a:solidFill>
                  <a:srgbClr val="010407"/>
                </a:solidFill>
                <a:latin typeface="Century Gothic" panose="020B0502020202020204" pitchFamily="34" charset="0"/>
              </a:rPr>
              <a:t>promoción y respeto de los derechos humanos,</a:t>
            </a:r>
            <a:r>
              <a:rPr lang="es-CO" sz="1400" dirty="0">
                <a:solidFill>
                  <a:srgbClr val="010407"/>
                </a:solidFill>
                <a:latin typeface="Century Gothic" panose="020B0502020202020204" pitchFamily="34" charset="0"/>
              </a:rPr>
              <a:t> así como con los </a:t>
            </a:r>
            <a:r>
              <a:rPr lang="es-CO" sz="1400" b="1" dirty="0">
                <a:solidFill>
                  <a:srgbClr val="010407"/>
                </a:solidFill>
                <a:latin typeface="Century Gothic" panose="020B0502020202020204" pitchFamily="34" charset="0"/>
              </a:rPr>
              <a:t>Objetivos de Desarrollo Sostenible</a:t>
            </a:r>
            <a:r>
              <a:rPr lang="es-CO" sz="1400" dirty="0">
                <a:solidFill>
                  <a:srgbClr val="010407"/>
                </a:solidFill>
                <a:latin typeface="Century Gothic" panose="020B0502020202020204" pitchFamily="34" charset="0"/>
              </a:rPr>
              <a:t>.</a:t>
            </a:r>
          </a:p>
        </p:txBody>
      </p:sp>
      <p:sp>
        <p:nvSpPr>
          <p:cNvPr id="7" name="Freeform 624">
            <a:extLst>
              <a:ext uri="{FF2B5EF4-FFF2-40B4-BE49-F238E27FC236}">
                <a16:creationId xmlns:a16="http://schemas.microsoft.com/office/drawing/2014/main" id="{4E2FD421-B17C-4123-BB78-1963E4F109CA}"/>
              </a:ext>
            </a:extLst>
          </p:cNvPr>
          <p:cNvSpPr>
            <a:spLocks/>
          </p:cNvSpPr>
          <p:nvPr/>
        </p:nvSpPr>
        <p:spPr bwMode="auto">
          <a:xfrm>
            <a:off x="9281222" y="1239955"/>
            <a:ext cx="1857168" cy="1837447"/>
          </a:xfrm>
          <a:custGeom>
            <a:avLst/>
            <a:gdLst>
              <a:gd name="T0" fmla="*/ 2147483646 w 5794"/>
              <a:gd name="T1" fmla="*/ 2147483646 h 5794"/>
              <a:gd name="T2" fmla="*/ 2147483646 w 5794"/>
              <a:gd name="T3" fmla="*/ 2147483646 h 5794"/>
              <a:gd name="T4" fmla="*/ 2147483646 w 5794"/>
              <a:gd name="T5" fmla="*/ 2147483646 h 5794"/>
              <a:gd name="T6" fmla="*/ 2147483646 w 5794"/>
              <a:gd name="T7" fmla="*/ 2147483646 h 5794"/>
              <a:gd name="T8" fmla="*/ 2147483646 w 5794"/>
              <a:gd name="T9" fmla="*/ 2147483646 h 5794"/>
              <a:gd name="T10" fmla="*/ 2147483646 w 5794"/>
              <a:gd name="T11" fmla="*/ 2147483646 h 5794"/>
              <a:gd name="T12" fmla="*/ 2147483646 w 5794"/>
              <a:gd name="T13" fmla="*/ 2147483646 h 5794"/>
              <a:gd name="T14" fmla="*/ 2147483646 w 5794"/>
              <a:gd name="T15" fmla="*/ 2147483646 h 5794"/>
              <a:gd name="T16" fmla="*/ 2147483646 w 5794"/>
              <a:gd name="T17" fmla="*/ 2147483646 h 5794"/>
              <a:gd name="T18" fmla="*/ 2147483646 w 5794"/>
              <a:gd name="T19" fmla="*/ 2147483646 h 5794"/>
              <a:gd name="T20" fmla="*/ 2147483646 w 5794"/>
              <a:gd name="T21" fmla="*/ 2147483646 h 5794"/>
              <a:gd name="T22" fmla="*/ 2147483646 w 5794"/>
              <a:gd name="T23" fmla="*/ 2147483646 h 5794"/>
              <a:gd name="T24" fmla="*/ 2147483646 w 5794"/>
              <a:gd name="T25" fmla="*/ 2147483646 h 5794"/>
              <a:gd name="T26" fmla="*/ 2147483646 w 5794"/>
              <a:gd name="T27" fmla="*/ 2147483646 h 5794"/>
              <a:gd name="T28" fmla="*/ 2147483646 w 5794"/>
              <a:gd name="T29" fmla="*/ 2147483646 h 5794"/>
              <a:gd name="T30" fmla="*/ 2147483646 w 5794"/>
              <a:gd name="T31" fmla="*/ 2147483646 h 5794"/>
              <a:gd name="T32" fmla="*/ 2147483646 w 5794"/>
              <a:gd name="T33" fmla="*/ 2147483646 h 5794"/>
              <a:gd name="T34" fmla="*/ 2147483646 w 5794"/>
              <a:gd name="T35" fmla="*/ 2147483646 h 5794"/>
              <a:gd name="T36" fmla="*/ 2147483646 w 5794"/>
              <a:gd name="T37" fmla="*/ 2147483646 h 5794"/>
              <a:gd name="T38" fmla="*/ 2147483646 w 5794"/>
              <a:gd name="T39" fmla="*/ 2147483646 h 5794"/>
              <a:gd name="T40" fmla="*/ 2147483646 w 5794"/>
              <a:gd name="T41" fmla="*/ 2147483646 h 5794"/>
              <a:gd name="T42" fmla="*/ 2147483646 w 5794"/>
              <a:gd name="T43" fmla="*/ 2147483646 h 5794"/>
              <a:gd name="T44" fmla="*/ 2147483646 w 5794"/>
              <a:gd name="T45" fmla="*/ 2147483646 h 5794"/>
              <a:gd name="T46" fmla="*/ 2147483646 w 5794"/>
              <a:gd name="T47" fmla="*/ 2147483646 h 5794"/>
              <a:gd name="T48" fmla="*/ 2147483646 w 5794"/>
              <a:gd name="T49" fmla="*/ 2147483646 h 5794"/>
              <a:gd name="T50" fmla="*/ 2147483646 w 5794"/>
              <a:gd name="T51" fmla="*/ 2147483646 h 5794"/>
              <a:gd name="T52" fmla="*/ 2147483646 w 5794"/>
              <a:gd name="T53" fmla="*/ 2147483646 h 5794"/>
              <a:gd name="T54" fmla="*/ 2147483646 w 5794"/>
              <a:gd name="T55" fmla="*/ 2147483646 h 5794"/>
              <a:gd name="T56" fmla="*/ 2147483646 w 5794"/>
              <a:gd name="T57" fmla="*/ 2147483646 h 5794"/>
              <a:gd name="T58" fmla="*/ 2147483646 w 5794"/>
              <a:gd name="T59" fmla="*/ 2147483646 h 5794"/>
              <a:gd name="T60" fmla="*/ 2147483646 w 5794"/>
              <a:gd name="T61" fmla="*/ 2147483646 h 5794"/>
              <a:gd name="T62" fmla="*/ 2147483646 w 5794"/>
              <a:gd name="T63" fmla="*/ 0 h 5794"/>
              <a:gd name="T64" fmla="*/ 2147483646 w 5794"/>
              <a:gd name="T65" fmla="*/ 2147483646 h 5794"/>
              <a:gd name="T66" fmla="*/ 2147483646 w 5794"/>
              <a:gd name="T67" fmla="*/ 2147483646 h 5794"/>
              <a:gd name="T68" fmla="*/ 2147483646 w 5794"/>
              <a:gd name="T69" fmla="*/ 2147483646 h 5794"/>
              <a:gd name="T70" fmla="*/ 2147483646 w 5794"/>
              <a:gd name="T71" fmla="*/ 2147483646 h 5794"/>
              <a:gd name="T72" fmla="*/ 2147483646 w 5794"/>
              <a:gd name="T73" fmla="*/ 2147483646 h 5794"/>
              <a:gd name="T74" fmla="*/ 2147483646 w 5794"/>
              <a:gd name="T75" fmla="*/ 2147483646 h 5794"/>
              <a:gd name="T76" fmla="*/ 2147483646 w 5794"/>
              <a:gd name="T77" fmla="*/ 2147483646 h 5794"/>
              <a:gd name="T78" fmla="*/ 2147483646 w 5794"/>
              <a:gd name="T79" fmla="*/ 2147483646 h 5794"/>
              <a:gd name="T80" fmla="*/ 2147483646 w 5794"/>
              <a:gd name="T81" fmla="*/ 2147483646 h 5794"/>
              <a:gd name="T82" fmla="*/ 2147483646 w 5794"/>
              <a:gd name="T83" fmla="*/ 2147483646 h 5794"/>
              <a:gd name="T84" fmla="*/ 2147483646 w 5794"/>
              <a:gd name="T85" fmla="*/ 2147483646 h 5794"/>
              <a:gd name="T86" fmla="*/ 2147483646 w 5794"/>
              <a:gd name="T87" fmla="*/ 2147483646 h 5794"/>
              <a:gd name="T88" fmla="*/ 2147483646 w 5794"/>
              <a:gd name="T89" fmla="*/ 2147483646 h 5794"/>
              <a:gd name="T90" fmla="*/ 2147483646 w 5794"/>
              <a:gd name="T91" fmla="*/ 2147483646 h 5794"/>
              <a:gd name="T92" fmla="*/ 2147483646 w 5794"/>
              <a:gd name="T93" fmla="*/ 2147483646 h 5794"/>
              <a:gd name="T94" fmla="*/ 2147483646 w 5794"/>
              <a:gd name="T95" fmla="*/ 2147483646 h 5794"/>
              <a:gd name="T96" fmla="*/ 2147483646 w 5794"/>
              <a:gd name="T97" fmla="*/ 2147483646 h 5794"/>
              <a:gd name="T98" fmla="*/ 2147483646 w 5794"/>
              <a:gd name="T99" fmla="*/ 2147483646 h 5794"/>
              <a:gd name="T100" fmla="*/ 2147483646 w 5794"/>
              <a:gd name="T101" fmla="*/ 2147483646 h 5794"/>
              <a:gd name="T102" fmla="*/ 2147483646 w 5794"/>
              <a:gd name="T103" fmla="*/ 2147483646 h 5794"/>
              <a:gd name="T104" fmla="*/ 2147483646 w 5794"/>
              <a:gd name="T105" fmla="*/ 2147483646 h 5794"/>
              <a:gd name="T106" fmla="*/ 2147483646 w 5794"/>
              <a:gd name="T107" fmla="*/ 2147483646 h 5794"/>
              <a:gd name="T108" fmla="*/ 2147483646 w 5794"/>
              <a:gd name="T109" fmla="*/ 2147483646 h 579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794"/>
              <a:gd name="T166" fmla="*/ 0 h 5794"/>
              <a:gd name="T167" fmla="*/ 5794 w 5794"/>
              <a:gd name="T168" fmla="*/ 5794 h 579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794" h="5794">
                <a:moveTo>
                  <a:pt x="5018" y="2848"/>
                </a:moveTo>
                <a:lnTo>
                  <a:pt x="5072" y="2845"/>
                </a:lnTo>
                <a:lnTo>
                  <a:pt x="5194" y="2823"/>
                </a:lnTo>
                <a:lnTo>
                  <a:pt x="5326" y="2783"/>
                </a:lnTo>
                <a:lnTo>
                  <a:pt x="5462" y="2727"/>
                </a:lnTo>
                <a:lnTo>
                  <a:pt x="5528" y="2694"/>
                </a:lnTo>
                <a:lnTo>
                  <a:pt x="5552" y="2683"/>
                </a:lnTo>
                <a:lnTo>
                  <a:pt x="5598" y="2674"/>
                </a:lnTo>
                <a:lnTo>
                  <a:pt x="5644" y="2677"/>
                </a:lnTo>
                <a:lnTo>
                  <a:pt x="5688" y="2691"/>
                </a:lnTo>
                <a:lnTo>
                  <a:pt x="5725" y="2714"/>
                </a:lnTo>
                <a:lnTo>
                  <a:pt x="5758" y="2748"/>
                </a:lnTo>
                <a:lnTo>
                  <a:pt x="5780" y="2787"/>
                </a:lnTo>
                <a:lnTo>
                  <a:pt x="5793" y="2834"/>
                </a:lnTo>
                <a:lnTo>
                  <a:pt x="5794" y="2858"/>
                </a:lnTo>
                <a:lnTo>
                  <a:pt x="5794" y="4489"/>
                </a:lnTo>
                <a:lnTo>
                  <a:pt x="4175" y="4489"/>
                </a:lnTo>
                <a:lnTo>
                  <a:pt x="4150" y="4490"/>
                </a:lnTo>
                <a:lnTo>
                  <a:pt x="4105" y="4502"/>
                </a:lnTo>
                <a:lnTo>
                  <a:pt x="4065" y="4525"/>
                </a:lnTo>
                <a:lnTo>
                  <a:pt x="4034" y="4556"/>
                </a:lnTo>
                <a:lnTo>
                  <a:pt x="4009" y="4595"/>
                </a:lnTo>
                <a:lnTo>
                  <a:pt x="3996" y="4638"/>
                </a:lnTo>
                <a:lnTo>
                  <a:pt x="3994" y="4683"/>
                </a:lnTo>
                <a:lnTo>
                  <a:pt x="4003" y="4731"/>
                </a:lnTo>
                <a:lnTo>
                  <a:pt x="4012" y="4753"/>
                </a:lnTo>
                <a:lnTo>
                  <a:pt x="4044" y="4821"/>
                </a:lnTo>
                <a:lnTo>
                  <a:pt x="4097" y="4957"/>
                </a:lnTo>
                <a:lnTo>
                  <a:pt x="4135" y="5089"/>
                </a:lnTo>
                <a:lnTo>
                  <a:pt x="4156" y="5211"/>
                </a:lnTo>
                <a:lnTo>
                  <a:pt x="4158" y="5265"/>
                </a:lnTo>
                <a:lnTo>
                  <a:pt x="4157" y="5298"/>
                </a:lnTo>
                <a:lnTo>
                  <a:pt x="4150" y="5359"/>
                </a:lnTo>
                <a:lnTo>
                  <a:pt x="4139" y="5414"/>
                </a:lnTo>
                <a:lnTo>
                  <a:pt x="4121" y="5467"/>
                </a:lnTo>
                <a:lnTo>
                  <a:pt x="4099" y="5517"/>
                </a:lnTo>
                <a:lnTo>
                  <a:pt x="4070" y="5562"/>
                </a:lnTo>
                <a:lnTo>
                  <a:pt x="4020" y="5623"/>
                </a:lnTo>
                <a:lnTo>
                  <a:pt x="3938" y="5690"/>
                </a:lnTo>
                <a:lnTo>
                  <a:pt x="3841" y="5741"/>
                </a:lnTo>
                <a:lnTo>
                  <a:pt x="3732" y="5775"/>
                </a:lnTo>
                <a:lnTo>
                  <a:pt x="3614" y="5793"/>
                </a:lnTo>
                <a:lnTo>
                  <a:pt x="3552" y="5794"/>
                </a:lnTo>
                <a:lnTo>
                  <a:pt x="3489" y="5793"/>
                </a:lnTo>
                <a:lnTo>
                  <a:pt x="3371" y="5775"/>
                </a:lnTo>
                <a:lnTo>
                  <a:pt x="3263" y="5741"/>
                </a:lnTo>
                <a:lnTo>
                  <a:pt x="3165" y="5690"/>
                </a:lnTo>
                <a:lnTo>
                  <a:pt x="3084" y="5623"/>
                </a:lnTo>
                <a:lnTo>
                  <a:pt x="3033" y="5562"/>
                </a:lnTo>
                <a:lnTo>
                  <a:pt x="3006" y="5517"/>
                </a:lnTo>
                <a:lnTo>
                  <a:pt x="2983" y="5467"/>
                </a:lnTo>
                <a:lnTo>
                  <a:pt x="2964" y="5414"/>
                </a:lnTo>
                <a:lnTo>
                  <a:pt x="2953" y="5359"/>
                </a:lnTo>
                <a:lnTo>
                  <a:pt x="2946" y="5298"/>
                </a:lnTo>
                <a:lnTo>
                  <a:pt x="2946" y="5265"/>
                </a:lnTo>
                <a:lnTo>
                  <a:pt x="2948" y="5211"/>
                </a:lnTo>
                <a:lnTo>
                  <a:pt x="2970" y="5089"/>
                </a:lnTo>
                <a:lnTo>
                  <a:pt x="3011" y="4957"/>
                </a:lnTo>
                <a:lnTo>
                  <a:pt x="3067" y="4821"/>
                </a:lnTo>
                <a:lnTo>
                  <a:pt x="3099" y="4753"/>
                </a:lnTo>
                <a:lnTo>
                  <a:pt x="3110" y="4731"/>
                </a:lnTo>
                <a:lnTo>
                  <a:pt x="3120" y="4685"/>
                </a:lnTo>
                <a:lnTo>
                  <a:pt x="3117" y="4639"/>
                </a:lnTo>
                <a:lnTo>
                  <a:pt x="3103" y="4595"/>
                </a:lnTo>
                <a:lnTo>
                  <a:pt x="3079" y="4558"/>
                </a:lnTo>
                <a:lnTo>
                  <a:pt x="3046" y="4525"/>
                </a:lnTo>
                <a:lnTo>
                  <a:pt x="3006" y="4503"/>
                </a:lnTo>
                <a:lnTo>
                  <a:pt x="2961" y="4490"/>
                </a:lnTo>
                <a:lnTo>
                  <a:pt x="2935" y="4489"/>
                </a:lnTo>
                <a:lnTo>
                  <a:pt x="1305" y="4489"/>
                </a:lnTo>
                <a:lnTo>
                  <a:pt x="1305" y="2858"/>
                </a:lnTo>
                <a:lnTo>
                  <a:pt x="1304" y="2834"/>
                </a:lnTo>
                <a:lnTo>
                  <a:pt x="1291" y="2787"/>
                </a:lnTo>
                <a:lnTo>
                  <a:pt x="1268" y="2748"/>
                </a:lnTo>
                <a:lnTo>
                  <a:pt x="1237" y="2714"/>
                </a:lnTo>
                <a:lnTo>
                  <a:pt x="1198" y="2691"/>
                </a:lnTo>
                <a:lnTo>
                  <a:pt x="1155" y="2677"/>
                </a:lnTo>
                <a:lnTo>
                  <a:pt x="1110" y="2674"/>
                </a:lnTo>
                <a:lnTo>
                  <a:pt x="1063" y="2683"/>
                </a:lnTo>
                <a:lnTo>
                  <a:pt x="1040" y="2694"/>
                </a:lnTo>
                <a:lnTo>
                  <a:pt x="972" y="2727"/>
                </a:lnTo>
                <a:lnTo>
                  <a:pt x="836" y="2783"/>
                </a:lnTo>
                <a:lnTo>
                  <a:pt x="705" y="2823"/>
                </a:lnTo>
                <a:lnTo>
                  <a:pt x="582" y="2845"/>
                </a:lnTo>
                <a:lnTo>
                  <a:pt x="528" y="2848"/>
                </a:lnTo>
                <a:lnTo>
                  <a:pt x="497" y="2848"/>
                </a:lnTo>
                <a:lnTo>
                  <a:pt x="436" y="2841"/>
                </a:lnTo>
                <a:lnTo>
                  <a:pt x="379" y="2829"/>
                </a:lnTo>
                <a:lnTo>
                  <a:pt x="326" y="2812"/>
                </a:lnTo>
                <a:lnTo>
                  <a:pt x="276" y="2788"/>
                </a:lnTo>
                <a:lnTo>
                  <a:pt x="231" y="2760"/>
                </a:lnTo>
                <a:lnTo>
                  <a:pt x="170" y="2711"/>
                </a:lnTo>
                <a:lnTo>
                  <a:pt x="104" y="2628"/>
                </a:lnTo>
                <a:lnTo>
                  <a:pt x="53" y="2532"/>
                </a:lnTo>
                <a:lnTo>
                  <a:pt x="18" y="2423"/>
                </a:lnTo>
                <a:lnTo>
                  <a:pt x="2" y="2305"/>
                </a:lnTo>
                <a:lnTo>
                  <a:pt x="0" y="2243"/>
                </a:lnTo>
                <a:lnTo>
                  <a:pt x="2" y="2180"/>
                </a:lnTo>
                <a:lnTo>
                  <a:pt x="18" y="2061"/>
                </a:lnTo>
                <a:lnTo>
                  <a:pt x="53" y="1952"/>
                </a:lnTo>
                <a:lnTo>
                  <a:pt x="104" y="1856"/>
                </a:lnTo>
                <a:lnTo>
                  <a:pt x="170" y="1773"/>
                </a:lnTo>
                <a:lnTo>
                  <a:pt x="231" y="1724"/>
                </a:lnTo>
                <a:lnTo>
                  <a:pt x="276" y="1696"/>
                </a:lnTo>
                <a:lnTo>
                  <a:pt x="326" y="1672"/>
                </a:lnTo>
                <a:lnTo>
                  <a:pt x="379" y="1656"/>
                </a:lnTo>
                <a:lnTo>
                  <a:pt x="436" y="1643"/>
                </a:lnTo>
                <a:lnTo>
                  <a:pt x="497" y="1637"/>
                </a:lnTo>
                <a:lnTo>
                  <a:pt x="528" y="1636"/>
                </a:lnTo>
                <a:lnTo>
                  <a:pt x="582" y="1639"/>
                </a:lnTo>
                <a:lnTo>
                  <a:pt x="705" y="1658"/>
                </a:lnTo>
                <a:lnTo>
                  <a:pt x="838" y="1697"/>
                </a:lnTo>
                <a:lnTo>
                  <a:pt x="972" y="1750"/>
                </a:lnTo>
                <a:lnTo>
                  <a:pt x="1040" y="1781"/>
                </a:lnTo>
                <a:lnTo>
                  <a:pt x="1063" y="1792"/>
                </a:lnTo>
                <a:lnTo>
                  <a:pt x="1110" y="1801"/>
                </a:lnTo>
                <a:lnTo>
                  <a:pt x="1156" y="1798"/>
                </a:lnTo>
                <a:lnTo>
                  <a:pt x="1199" y="1784"/>
                </a:lnTo>
                <a:lnTo>
                  <a:pt x="1237" y="1760"/>
                </a:lnTo>
                <a:lnTo>
                  <a:pt x="1269" y="1728"/>
                </a:lnTo>
                <a:lnTo>
                  <a:pt x="1291" y="1689"/>
                </a:lnTo>
                <a:lnTo>
                  <a:pt x="1304" y="1644"/>
                </a:lnTo>
                <a:lnTo>
                  <a:pt x="1305" y="1618"/>
                </a:lnTo>
                <a:lnTo>
                  <a:pt x="1305" y="0"/>
                </a:lnTo>
                <a:lnTo>
                  <a:pt x="1305" y="310"/>
                </a:lnTo>
                <a:lnTo>
                  <a:pt x="1305" y="0"/>
                </a:lnTo>
                <a:lnTo>
                  <a:pt x="2935" y="0"/>
                </a:lnTo>
                <a:lnTo>
                  <a:pt x="2961" y="2"/>
                </a:lnTo>
                <a:lnTo>
                  <a:pt x="3006" y="13"/>
                </a:lnTo>
                <a:lnTo>
                  <a:pt x="3046" y="37"/>
                </a:lnTo>
                <a:lnTo>
                  <a:pt x="3079" y="69"/>
                </a:lnTo>
                <a:lnTo>
                  <a:pt x="3103" y="107"/>
                </a:lnTo>
                <a:lnTo>
                  <a:pt x="3117" y="149"/>
                </a:lnTo>
                <a:lnTo>
                  <a:pt x="3120" y="196"/>
                </a:lnTo>
                <a:lnTo>
                  <a:pt x="3110" y="243"/>
                </a:lnTo>
                <a:lnTo>
                  <a:pt x="3099" y="265"/>
                </a:lnTo>
                <a:lnTo>
                  <a:pt x="3067" y="332"/>
                </a:lnTo>
                <a:lnTo>
                  <a:pt x="3011" y="468"/>
                </a:lnTo>
                <a:lnTo>
                  <a:pt x="2970" y="600"/>
                </a:lnTo>
                <a:lnTo>
                  <a:pt x="2948" y="722"/>
                </a:lnTo>
                <a:lnTo>
                  <a:pt x="2946" y="777"/>
                </a:lnTo>
                <a:lnTo>
                  <a:pt x="2946" y="809"/>
                </a:lnTo>
                <a:lnTo>
                  <a:pt x="2953" y="869"/>
                </a:lnTo>
                <a:lnTo>
                  <a:pt x="2964" y="926"/>
                </a:lnTo>
                <a:lnTo>
                  <a:pt x="2983" y="979"/>
                </a:lnTo>
                <a:lnTo>
                  <a:pt x="3006" y="1028"/>
                </a:lnTo>
                <a:lnTo>
                  <a:pt x="3033" y="1074"/>
                </a:lnTo>
                <a:lnTo>
                  <a:pt x="3084" y="1134"/>
                </a:lnTo>
                <a:lnTo>
                  <a:pt x="3165" y="1202"/>
                </a:lnTo>
                <a:lnTo>
                  <a:pt x="3263" y="1252"/>
                </a:lnTo>
                <a:lnTo>
                  <a:pt x="3371" y="1286"/>
                </a:lnTo>
                <a:lnTo>
                  <a:pt x="3489" y="1303"/>
                </a:lnTo>
                <a:lnTo>
                  <a:pt x="3552" y="1304"/>
                </a:lnTo>
                <a:lnTo>
                  <a:pt x="3614" y="1303"/>
                </a:lnTo>
                <a:lnTo>
                  <a:pt x="3732" y="1286"/>
                </a:lnTo>
                <a:lnTo>
                  <a:pt x="3841" y="1252"/>
                </a:lnTo>
                <a:lnTo>
                  <a:pt x="3938" y="1202"/>
                </a:lnTo>
                <a:lnTo>
                  <a:pt x="4020" y="1134"/>
                </a:lnTo>
                <a:lnTo>
                  <a:pt x="4070" y="1074"/>
                </a:lnTo>
                <a:lnTo>
                  <a:pt x="4099" y="1028"/>
                </a:lnTo>
                <a:lnTo>
                  <a:pt x="4121" y="979"/>
                </a:lnTo>
                <a:lnTo>
                  <a:pt x="4139" y="926"/>
                </a:lnTo>
                <a:lnTo>
                  <a:pt x="4150" y="869"/>
                </a:lnTo>
                <a:lnTo>
                  <a:pt x="4157" y="809"/>
                </a:lnTo>
                <a:lnTo>
                  <a:pt x="4158" y="777"/>
                </a:lnTo>
                <a:lnTo>
                  <a:pt x="4156" y="722"/>
                </a:lnTo>
                <a:lnTo>
                  <a:pt x="4135" y="600"/>
                </a:lnTo>
                <a:lnTo>
                  <a:pt x="4097" y="468"/>
                </a:lnTo>
                <a:lnTo>
                  <a:pt x="4044" y="332"/>
                </a:lnTo>
                <a:lnTo>
                  <a:pt x="4012" y="265"/>
                </a:lnTo>
                <a:lnTo>
                  <a:pt x="4003" y="241"/>
                </a:lnTo>
                <a:lnTo>
                  <a:pt x="3994" y="195"/>
                </a:lnTo>
                <a:lnTo>
                  <a:pt x="3996" y="149"/>
                </a:lnTo>
                <a:lnTo>
                  <a:pt x="4009" y="107"/>
                </a:lnTo>
                <a:lnTo>
                  <a:pt x="4034" y="68"/>
                </a:lnTo>
                <a:lnTo>
                  <a:pt x="4065" y="37"/>
                </a:lnTo>
                <a:lnTo>
                  <a:pt x="4105" y="13"/>
                </a:lnTo>
                <a:lnTo>
                  <a:pt x="4150" y="2"/>
                </a:lnTo>
                <a:lnTo>
                  <a:pt x="4175" y="0"/>
                </a:lnTo>
                <a:lnTo>
                  <a:pt x="5794" y="0"/>
                </a:lnTo>
                <a:lnTo>
                  <a:pt x="5794" y="1618"/>
                </a:lnTo>
                <a:lnTo>
                  <a:pt x="5793" y="1644"/>
                </a:lnTo>
                <a:lnTo>
                  <a:pt x="5780" y="1689"/>
                </a:lnTo>
                <a:lnTo>
                  <a:pt x="5758" y="1728"/>
                </a:lnTo>
                <a:lnTo>
                  <a:pt x="5725" y="1760"/>
                </a:lnTo>
                <a:lnTo>
                  <a:pt x="5688" y="1784"/>
                </a:lnTo>
                <a:lnTo>
                  <a:pt x="5645" y="1798"/>
                </a:lnTo>
                <a:lnTo>
                  <a:pt x="5599" y="1801"/>
                </a:lnTo>
                <a:lnTo>
                  <a:pt x="5552" y="1792"/>
                </a:lnTo>
                <a:lnTo>
                  <a:pt x="5529" y="1781"/>
                </a:lnTo>
                <a:lnTo>
                  <a:pt x="5462" y="1750"/>
                </a:lnTo>
                <a:lnTo>
                  <a:pt x="5326" y="1697"/>
                </a:lnTo>
                <a:lnTo>
                  <a:pt x="5194" y="1658"/>
                </a:lnTo>
                <a:lnTo>
                  <a:pt x="5072" y="1639"/>
                </a:lnTo>
                <a:lnTo>
                  <a:pt x="5018" y="1636"/>
                </a:lnTo>
                <a:lnTo>
                  <a:pt x="4985" y="1637"/>
                </a:lnTo>
                <a:lnTo>
                  <a:pt x="4924" y="1643"/>
                </a:lnTo>
                <a:lnTo>
                  <a:pt x="4868" y="1656"/>
                </a:lnTo>
                <a:lnTo>
                  <a:pt x="4815" y="1672"/>
                </a:lnTo>
                <a:lnTo>
                  <a:pt x="4766" y="1696"/>
                </a:lnTo>
                <a:lnTo>
                  <a:pt x="4721" y="1724"/>
                </a:lnTo>
                <a:lnTo>
                  <a:pt x="4660" y="1773"/>
                </a:lnTo>
                <a:lnTo>
                  <a:pt x="4592" y="1856"/>
                </a:lnTo>
                <a:lnTo>
                  <a:pt x="4542" y="1952"/>
                </a:lnTo>
                <a:lnTo>
                  <a:pt x="4508" y="2061"/>
                </a:lnTo>
                <a:lnTo>
                  <a:pt x="4490" y="2180"/>
                </a:lnTo>
                <a:lnTo>
                  <a:pt x="4489" y="2243"/>
                </a:lnTo>
                <a:lnTo>
                  <a:pt x="4490" y="2305"/>
                </a:lnTo>
                <a:lnTo>
                  <a:pt x="4508" y="2423"/>
                </a:lnTo>
                <a:lnTo>
                  <a:pt x="4542" y="2532"/>
                </a:lnTo>
                <a:lnTo>
                  <a:pt x="4592" y="2628"/>
                </a:lnTo>
                <a:lnTo>
                  <a:pt x="4660" y="2711"/>
                </a:lnTo>
                <a:lnTo>
                  <a:pt x="4721" y="2760"/>
                </a:lnTo>
                <a:lnTo>
                  <a:pt x="4766" y="2788"/>
                </a:lnTo>
                <a:lnTo>
                  <a:pt x="4815" y="2812"/>
                </a:lnTo>
                <a:lnTo>
                  <a:pt x="4868" y="2829"/>
                </a:lnTo>
                <a:lnTo>
                  <a:pt x="4924" y="2841"/>
                </a:lnTo>
                <a:lnTo>
                  <a:pt x="4985" y="2848"/>
                </a:lnTo>
                <a:lnTo>
                  <a:pt x="5018" y="2848"/>
                </a:lnTo>
                <a:close/>
              </a:path>
            </a:pathLst>
          </a:custGeom>
          <a:solidFill>
            <a:schemeClr val="bg2"/>
          </a:solidFill>
          <a:ln>
            <a:noFill/>
          </a:ln>
        </p:spPr>
        <p:txBody>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Calibri" panose="020F0502020204030204"/>
            </a:endParaRPr>
          </a:p>
        </p:txBody>
      </p:sp>
      <p:grpSp>
        <p:nvGrpSpPr>
          <p:cNvPr id="8" name="Group 62">
            <a:extLst>
              <a:ext uri="{FF2B5EF4-FFF2-40B4-BE49-F238E27FC236}">
                <a16:creationId xmlns:a16="http://schemas.microsoft.com/office/drawing/2014/main" id="{7F1FCC62-EB12-4301-85C4-F183F8401709}"/>
              </a:ext>
            </a:extLst>
          </p:cNvPr>
          <p:cNvGrpSpPr>
            <a:grpSpLocks/>
          </p:cNvGrpSpPr>
          <p:nvPr/>
        </p:nvGrpSpPr>
        <p:grpSpPr bwMode="auto">
          <a:xfrm>
            <a:off x="10227758" y="1143303"/>
            <a:ext cx="1941512" cy="1122363"/>
            <a:chOff x="10243750" y="1881543"/>
            <a:chExt cx="1942598" cy="1121279"/>
          </a:xfrm>
        </p:grpSpPr>
        <p:sp>
          <p:nvSpPr>
            <p:cNvPr id="9" name="Freeform 3127">
              <a:extLst>
                <a:ext uri="{FF2B5EF4-FFF2-40B4-BE49-F238E27FC236}">
                  <a16:creationId xmlns:a16="http://schemas.microsoft.com/office/drawing/2014/main" id="{407C6F11-97F6-4890-8E57-732D1222E514}"/>
                </a:ext>
              </a:extLst>
            </p:cNvPr>
            <p:cNvSpPr>
              <a:spLocks/>
            </p:cNvSpPr>
            <p:nvPr/>
          </p:nvSpPr>
          <p:spPr bwMode="auto">
            <a:xfrm>
              <a:off x="11229332" y="2039856"/>
              <a:ext cx="678481" cy="626107"/>
            </a:xfrm>
            <a:custGeom>
              <a:avLst/>
              <a:gdLst>
                <a:gd name="T0" fmla="*/ 2147483646 w 570"/>
                <a:gd name="T1" fmla="*/ 0 h 526"/>
                <a:gd name="T2" fmla="*/ 2147483646 w 570"/>
                <a:gd name="T3" fmla="*/ 2147483646 h 526"/>
                <a:gd name="T4" fmla="*/ 2147483646 w 570"/>
                <a:gd name="T5" fmla="*/ 2147483646 h 526"/>
                <a:gd name="T6" fmla="*/ 0 w 570"/>
                <a:gd name="T7" fmla="*/ 2147483646 h 526"/>
                <a:gd name="T8" fmla="*/ 2147483646 w 570"/>
                <a:gd name="T9" fmla="*/ 0 h 526"/>
                <a:gd name="T10" fmla="*/ 0 60000 65536"/>
                <a:gd name="T11" fmla="*/ 0 60000 65536"/>
                <a:gd name="T12" fmla="*/ 0 60000 65536"/>
                <a:gd name="T13" fmla="*/ 0 60000 65536"/>
                <a:gd name="T14" fmla="*/ 0 60000 65536"/>
                <a:gd name="T15" fmla="*/ 0 w 570"/>
                <a:gd name="T16" fmla="*/ 0 h 526"/>
                <a:gd name="T17" fmla="*/ 570 w 570"/>
                <a:gd name="T18" fmla="*/ 526 h 526"/>
              </a:gdLst>
              <a:ahLst/>
              <a:cxnLst>
                <a:cxn ang="T10">
                  <a:pos x="T0" y="T1"/>
                </a:cxn>
                <a:cxn ang="T11">
                  <a:pos x="T2" y="T3"/>
                </a:cxn>
                <a:cxn ang="T12">
                  <a:pos x="T4" y="T5"/>
                </a:cxn>
                <a:cxn ang="T13">
                  <a:pos x="T6" y="T7"/>
                </a:cxn>
                <a:cxn ang="T14">
                  <a:pos x="T8" y="T9"/>
                </a:cxn>
              </a:cxnLst>
              <a:rect l="T15" t="T16" r="T17" b="T18"/>
              <a:pathLst>
                <a:path w="570" h="526">
                  <a:moveTo>
                    <a:pt x="465" y="0"/>
                  </a:moveTo>
                  <a:lnTo>
                    <a:pt x="570" y="407"/>
                  </a:lnTo>
                  <a:lnTo>
                    <a:pt x="105" y="526"/>
                  </a:lnTo>
                  <a:lnTo>
                    <a:pt x="0" y="121"/>
                  </a:lnTo>
                  <a:lnTo>
                    <a:pt x="465" y="0"/>
                  </a:lnTo>
                  <a:close/>
                </a:path>
              </a:pathLst>
            </a:custGeom>
            <a:solidFill>
              <a:srgbClr val="EBC09F"/>
            </a:solidFill>
            <a:ln w="0">
              <a:solidFill>
                <a:srgbClr val="EBC09F"/>
              </a:solidFill>
              <a:round/>
              <a:headEnd/>
              <a:tailEnd/>
            </a:ln>
          </p:spPr>
          <p:txBody>
            <a:bodyPr/>
            <a:lstStyle/>
            <a:p>
              <a:endParaRPr lang="es-ES">
                <a:solidFill>
                  <a:prstClr val="black"/>
                </a:solidFill>
                <a:latin typeface="Calibri" panose="020F0502020204030204"/>
              </a:endParaRPr>
            </a:p>
          </p:txBody>
        </p:sp>
        <p:sp>
          <p:nvSpPr>
            <p:cNvPr id="10" name="Freeform 3128">
              <a:extLst>
                <a:ext uri="{FF2B5EF4-FFF2-40B4-BE49-F238E27FC236}">
                  <a16:creationId xmlns:a16="http://schemas.microsoft.com/office/drawing/2014/main" id="{D3FCC139-D8F4-421C-B305-3E851F22F318}"/>
                </a:ext>
              </a:extLst>
            </p:cNvPr>
            <p:cNvSpPr>
              <a:spLocks/>
            </p:cNvSpPr>
            <p:nvPr/>
          </p:nvSpPr>
          <p:spPr bwMode="auto">
            <a:xfrm>
              <a:off x="10766299" y="2119606"/>
              <a:ext cx="657055" cy="736807"/>
            </a:xfrm>
            <a:custGeom>
              <a:avLst/>
              <a:gdLst>
                <a:gd name="T0" fmla="*/ 2147483646 w 552"/>
                <a:gd name="T1" fmla="*/ 0 h 619"/>
                <a:gd name="T2" fmla="*/ 2147483646 w 552"/>
                <a:gd name="T3" fmla="*/ 2147483646 h 619"/>
                <a:gd name="T4" fmla="*/ 2147483646 w 552"/>
                <a:gd name="T5" fmla="*/ 2147483646 h 619"/>
                <a:gd name="T6" fmla="*/ 2147483646 w 552"/>
                <a:gd name="T7" fmla="*/ 2147483646 h 619"/>
                <a:gd name="T8" fmla="*/ 2147483646 w 552"/>
                <a:gd name="T9" fmla="*/ 2147483646 h 619"/>
                <a:gd name="T10" fmla="*/ 2147483646 w 552"/>
                <a:gd name="T11" fmla="*/ 2147483646 h 619"/>
                <a:gd name="T12" fmla="*/ 2147483646 w 552"/>
                <a:gd name="T13" fmla="*/ 2147483646 h 619"/>
                <a:gd name="T14" fmla="*/ 2147483646 w 552"/>
                <a:gd name="T15" fmla="*/ 2147483646 h 619"/>
                <a:gd name="T16" fmla="*/ 2147483646 w 552"/>
                <a:gd name="T17" fmla="*/ 2147483646 h 619"/>
                <a:gd name="T18" fmla="*/ 2147483646 w 552"/>
                <a:gd name="T19" fmla="*/ 2147483646 h 619"/>
                <a:gd name="T20" fmla="*/ 2147483646 w 552"/>
                <a:gd name="T21" fmla="*/ 2147483646 h 619"/>
                <a:gd name="T22" fmla="*/ 2147483646 w 552"/>
                <a:gd name="T23" fmla="*/ 2147483646 h 619"/>
                <a:gd name="T24" fmla="*/ 2147483646 w 552"/>
                <a:gd name="T25" fmla="*/ 2147483646 h 619"/>
                <a:gd name="T26" fmla="*/ 2147483646 w 552"/>
                <a:gd name="T27" fmla="*/ 2147483646 h 619"/>
                <a:gd name="T28" fmla="*/ 2147483646 w 552"/>
                <a:gd name="T29" fmla="*/ 2147483646 h 619"/>
                <a:gd name="T30" fmla="*/ 2147483646 w 552"/>
                <a:gd name="T31" fmla="*/ 2147483646 h 619"/>
                <a:gd name="T32" fmla="*/ 2147483646 w 552"/>
                <a:gd name="T33" fmla="*/ 2147483646 h 619"/>
                <a:gd name="T34" fmla="*/ 2147483646 w 552"/>
                <a:gd name="T35" fmla="*/ 2147483646 h 619"/>
                <a:gd name="T36" fmla="*/ 2147483646 w 552"/>
                <a:gd name="T37" fmla="*/ 2147483646 h 619"/>
                <a:gd name="T38" fmla="*/ 2147483646 w 552"/>
                <a:gd name="T39" fmla="*/ 2147483646 h 619"/>
                <a:gd name="T40" fmla="*/ 2147483646 w 552"/>
                <a:gd name="T41" fmla="*/ 2147483646 h 619"/>
                <a:gd name="T42" fmla="*/ 2147483646 w 552"/>
                <a:gd name="T43" fmla="*/ 2147483646 h 619"/>
                <a:gd name="T44" fmla="*/ 2147483646 w 552"/>
                <a:gd name="T45" fmla="*/ 2147483646 h 619"/>
                <a:gd name="T46" fmla="*/ 2147483646 w 552"/>
                <a:gd name="T47" fmla="*/ 2147483646 h 619"/>
                <a:gd name="T48" fmla="*/ 2147483646 w 552"/>
                <a:gd name="T49" fmla="*/ 2147483646 h 619"/>
                <a:gd name="T50" fmla="*/ 0 w 552"/>
                <a:gd name="T51" fmla="*/ 2147483646 h 619"/>
                <a:gd name="T52" fmla="*/ 2147483646 w 552"/>
                <a:gd name="T53" fmla="*/ 2147483646 h 619"/>
                <a:gd name="T54" fmla="*/ 2147483646 w 552"/>
                <a:gd name="T55" fmla="*/ 2147483646 h 619"/>
                <a:gd name="T56" fmla="*/ 2147483646 w 552"/>
                <a:gd name="T57" fmla="*/ 2147483646 h 619"/>
                <a:gd name="T58" fmla="*/ 2147483646 w 552"/>
                <a:gd name="T59" fmla="*/ 2147483646 h 619"/>
                <a:gd name="T60" fmla="*/ 2147483646 w 552"/>
                <a:gd name="T61" fmla="*/ 2147483646 h 619"/>
                <a:gd name="T62" fmla="*/ 2147483646 w 552"/>
                <a:gd name="T63" fmla="*/ 0 h 619"/>
                <a:gd name="T64" fmla="*/ 2147483646 w 552"/>
                <a:gd name="T65" fmla="*/ 0 h 6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552"/>
                <a:gd name="T100" fmla="*/ 0 h 619"/>
                <a:gd name="T101" fmla="*/ 552 w 552"/>
                <a:gd name="T102" fmla="*/ 619 h 6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552" h="619">
                  <a:moveTo>
                    <a:pt x="308" y="0"/>
                  </a:moveTo>
                  <a:lnTo>
                    <a:pt x="336" y="2"/>
                  </a:lnTo>
                  <a:lnTo>
                    <a:pt x="360" y="10"/>
                  </a:lnTo>
                  <a:lnTo>
                    <a:pt x="381" y="21"/>
                  </a:lnTo>
                  <a:lnTo>
                    <a:pt x="401" y="34"/>
                  </a:lnTo>
                  <a:lnTo>
                    <a:pt x="417" y="48"/>
                  </a:lnTo>
                  <a:lnTo>
                    <a:pt x="431" y="64"/>
                  </a:lnTo>
                  <a:lnTo>
                    <a:pt x="442" y="81"/>
                  </a:lnTo>
                  <a:lnTo>
                    <a:pt x="451" y="97"/>
                  </a:lnTo>
                  <a:lnTo>
                    <a:pt x="459" y="111"/>
                  </a:lnTo>
                  <a:lnTo>
                    <a:pt x="463" y="123"/>
                  </a:lnTo>
                  <a:lnTo>
                    <a:pt x="466" y="133"/>
                  </a:lnTo>
                  <a:lnTo>
                    <a:pt x="549" y="455"/>
                  </a:lnTo>
                  <a:lnTo>
                    <a:pt x="552" y="478"/>
                  </a:lnTo>
                  <a:lnTo>
                    <a:pt x="546" y="497"/>
                  </a:lnTo>
                  <a:lnTo>
                    <a:pt x="536" y="516"/>
                  </a:lnTo>
                  <a:lnTo>
                    <a:pt x="520" y="530"/>
                  </a:lnTo>
                  <a:lnTo>
                    <a:pt x="500" y="538"/>
                  </a:lnTo>
                  <a:lnTo>
                    <a:pt x="197" y="616"/>
                  </a:lnTo>
                  <a:lnTo>
                    <a:pt x="175" y="619"/>
                  </a:lnTo>
                  <a:lnTo>
                    <a:pt x="154" y="614"/>
                  </a:lnTo>
                  <a:lnTo>
                    <a:pt x="137" y="603"/>
                  </a:lnTo>
                  <a:lnTo>
                    <a:pt x="122" y="588"/>
                  </a:lnTo>
                  <a:lnTo>
                    <a:pt x="113" y="568"/>
                  </a:lnTo>
                  <a:lnTo>
                    <a:pt x="3" y="139"/>
                  </a:lnTo>
                  <a:lnTo>
                    <a:pt x="0" y="118"/>
                  </a:lnTo>
                  <a:lnTo>
                    <a:pt x="6" y="97"/>
                  </a:lnTo>
                  <a:lnTo>
                    <a:pt x="16" y="78"/>
                  </a:lnTo>
                  <a:lnTo>
                    <a:pt x="32" y="65"/>
                  </a:lnTo>
                  <a:lnTo>
                    <a:pt x="51" y="56"/>
                  </a:lnTo>
                  <a:lnTo>
                    <a:pt x="243" y="6"/>
                  </a:lnTo>
                  <a:lnTo>
                    <a:pt x="277" y="0"/>
                  </a:lnTo>
                  <a:lnTo>
                    <a:pt x="308"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1" name="Freeform 3129">
              <a:extLst>
                <a:ext uri="{FF2B5EF4-FFF2-40B4-BE49-F238E27FC236}">
                  <a16:creationId xmlns:a16="http://schemas.microsoft.com/office/drawing/2014/main" id="{BA664482-7159-42AE-88C4-C094B3D0450A}"/>
                </a:ext>
              </a:extLst>
            </p:cNvPr>
            <p:cNvSpPr>
              <a:spLocks/>
            </p:cNvSpPr>
            <p:nvPr/>
          </p:nvSpPr>
          <p:spPr bwMode="auto">
            <a:xfrm>
              <a:off x="10335404" y="2686198"/>
              <a:ext cx="752280" cy="316624"/>
            </a:xfrm>
            <a:custGeom>
              <a:avLst/>
              <a:gdLst>
                <a:gd name="T0" fmla="*/ 2147483646 w 632"/>
                <a:gd name="T1" fmla="*/ 0 h 266"/>
                <a:gd name="T2" fmla="*/ 2147483646 w 632"/>
                <a:gd name="T3" fmla="*/ 2147483646 h 266"/>
                <a:gd name="T4" fmla="*/ 2147483646 w 632"/>
                <a:gd name="T5" fmla="*/ 2147483646 h 266"/>
                <a:gd name="T6" fmla="*/ 2147483646 w 632"/>
                <a:gd name="T7" fmla="*/ 2147483646 h 266"/>
                <a:gd name="T8" fmla="*/ 2147483646 w 632"/>
                <a:gd name="T9" fmla="*/ 2147483646 h 266"/>
                <a:gd name="T10" fmla="*/ 2147483646 w 632"/>
                <a:gd name="T11" fmla="*/ 2147483646 h 266"/>
                <a:gd name="T12" fmla="*/ 2147483646 w 632"/>
                <a:gd name="T13" fmla="*/ 2147483646 h 266"/>
                <a:gd name="T14" fmla="*/ 2147483646 w 632"/>
                <a:gd name="T15" fmla="*/ 2147483646 h 266"/>
                <a:gd name="T16" fmla="*/ 2147483646 w 632"/>
                <a:gd name="T17" fmla="*/ 2147483646 h 266"/>
                <a:gd name="T18" fmla="*/ 2147483646 w 632"/>
                <a:gd name="T19" fmla="*/ 2147483646 h 266"/>
                <a:gd name="T20" fmla="*/ 2147483646 w 632"/>
                <a:gd name="T21" fmla="*/ 2147483646 h 266"/>
                <a:gd name="T22" fmla="*/ 2147483646 w 632"/>
                <a:gd name="T23" fmla="*/ 2147483646 h 266"/>
                <a:gd name="T24" fmla="*/ 2147483646 w 632"/>
                <a:gd name="T25" fmla="*/ 2147483646 h 266"/>
                <a:gd name="T26" fmla="*/ 2147483646 w 632"/>
                <a:gd name="T27" fmla="*/ 2147483646 h 266"/>
                <a:gd name="T28" fmla="*/ 2147483646 w 632"/>
                <a:gd name="T29" fmla="*/ 2147483646 h 266"/>
                <a:gd name="T30" fmla="*/ 2147483646 w 632"/>
                <a:gd name="T31" fmla="*/ 2147483646 h 266"/>
                <a:gd name="T32" fmla="*/ 2147483646 w 632"/>
                <a:gd name="T33" fmla="*/ 2147483646 h 266"/>
                <a:gd name="T34" fmla="*/ 2147483646 w 632"/>
                <a:gd name="T35" fmla="*/ 2147483646 h 266"/>
                <a:gd name="T36" fmla="*/ 0 w 632"/>
                <a:gd name="T37" fmla="*/ 2147483646 h 266"/>
                <a:gd name="T38" fmla="*/ 2147483646 w 632"/>
                <a:gd name="T39" fmla="*/ 2147483646 h 266"/>
                <a:gd name="T40" fmla="*/ 2147483646 w 632"/>
                <a:gd name="T41" fmla="*/ 2147483646 h 266"/>
                <a:gd name="T42" fmla="*/ 2147483646 w 632"/>
                <a:gd name="T43" fmla="*/ 2147483646 h 266"/>
                <a:gd name="T44" fmla="*/ 2147483646 w 632"/>
                <a:gd name="T45" fmla="*/ 2147483646 h 266"/>
                <a:gd name="T46" fmla="*/ 2147483646 w 632"/>
                <a:gd name="T47" fmla="*/ 2147483646 h 266"/>
                <a:gd name="T48" fmla="*/ 2147483646 w 632"/>
                <a:gd name="T49" fmla="*/ 0 h 26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2"/>
                <a:gd name="T76" fmla="*/ 0 h 266"/>
                <a:gd name="T77" fmla="*/ 632 w 632"/>
                <a:gd name="T78" fmla="*/ 266 h 26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2" h="266">
                  <a:moveTo>
                    <a:pt x="572" y="0"/>
                  </a:moveTo>
                  <a:lnTo>
                    <a:pt x="590" y="4"/>
                  </a:lnTo>
                  <a:lnTo>
                    <a:pt x="606" y="13"/>
                  </a:lnTo>
                  <a:lnTo>
                    <a:pt x="618" y="27"/>
                  </a:lnTo>
                  <a:lnTo>
                    <a:pt x="626" y="44"/>
                  </a:lnTo>
                  <a:lnTo>
                    <a:pt x="629" y="62"/>
                  </a:lnTo>
                  <a:lnTo>
                    <a:pt x="632" y="80"/>
                  </a:lnTo>
                  <a:lnTo>
                    <a:pt x="628" y="99"/>
                  </a:lnTo>
                  <a:lnTo>
                    <a:pt x="619" y="113"/>
                  </a:lnTo>
                  <a:lnTo>
                    <a:pt x="605" y="126"/>
                  </a:lnTo>
                  <a:lnTo>
                    <a:pt x="588" y="134"/>
                  </a:lnTo>
                  <a:lnTo>
                    <a:pt x="78" y="265"/>
                  </a:lnTo>
                  <a:lnTo>
                    <a:pt x="59" y="266"/>
                  </a:lnTo>
                  <a:lnTo>
                    <a:pt x="42" y="262"/>
                  </a:lnTo>
                  <a:lnTo>
                    <a:pt x="26" y="253"/>
                  </a:lnTo>
                  <a:lnTo>
                    <a:pt x="13" y="240"/>
                  </a:lnTo>
                  <a:lnTo>
                    <a:pt x="6" y="223"/>
                  </a:lnTo>
                  <a:lnTo>
                    <a:pt x="1" y="205"/>
                  </a:lnTo>
                  <a:lnTo>
                    <a:pt x="0" y="186"/>
                  </a:lnTo>
                  <a:lnTo>
                    <a:pt x="4" y="168"/>
                  </a:lnTo>
                  <a:lnTo>
                    <a:pt x="13" y="154"/>
                  </a:lnTo>
                  <a:lnTo>
                    <a:pt x="26" y="140"/>
                  </a:lnTo>
                  <a:lnTo>
                    <a:pt x="44" y="133"/>
                  </a:lnTo>
                  <a:lnTo>
                    <a:pt x="554" y="2"/>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2" name="Freeform 3130">
              <a:extLst>
                <a:ext uri="{FF2B5EF4-FFF2-40B4-BE49-F238E27FC236}">
                  <a16:creationId xmlns:a16="http://schemas.microsoft.com/office/drawing/2014/main" id="{09C5584A-B00A-488F-95BD-EF51DAA3AC9C}"/>
                </a:ext>
              </a:extLst>
            </p:cNvPr>
            <p:cNvSpPr>
              <a:spLocks/>
            </p:cNvSpPr>
            <p:nvPr/>
          </p:nvSpPr>
          <p:spPr bwMode="auto">
            <a:xfrm>
              <a:off x="10361591" y="2859984"/>
              <a:ext cx="99987" cy="119032"/>
            </a:xfrm>
            <a:custGeom>
              <a:avLst/>
              <a:gdLst>
                <a:gd name="T0" fmla="*/ 2147483646 w 84"/>
                <a:gd name="T1" fmla="*/ 0 h 100"/>
                <a:gd name="T2" fmla="*/ 2147483646 w 84"/>
                <a:gd name="T3" fmla="*/ 2147483646 h 100"/>
                <a:gd name="T4" fmla="*/ 2147483646 w 84"/>
                <a:gd name="T5" fmla="*/ 2147483646 h 100"/>
                <a:gd name="T6" fmla="*/ 2147483646 w 84"/>
                <a:gd name="T7" fmla="*/ 2147483646 h 100"/>
                <a:gd name="T8" fmla="*/ 2147483646 w 84"/>
                <a:gd name="T9" fmla="*/ 2147483646 h 100"/>
                <a:gd name="T10" fmla="*/ 2147483646 w 84"/>
                <a:gd name="T11" fmla="*/ 2147483646 h 100"/>
                <a:gd name="T12" fmla="*/ 2147483646 w 84"/>
                <a:gd name="T13" fmla="*/ 2147483646 h 100"/>
                <a:gd name="T14" fmla="*/ 2147483646 w 84"/>
                <a:gd name="T15" fmla="*/ 2147483646 h 100"/>
                <a:gd name="T16" fmla="*/ 2147483646 w 84"/>
                <a:gd name="T17" fmla="*/ 2147483646 h 100"/>
                <a:gd name="T18" fmla="*/ 2147483646 w 84"/>
                <a:gd name="T19" fmla="*/ 2147483646 h 100"/>
                <a:gd name="T20" fmla="*/ 2147483646 w 84"/>
                <a:gd name="T21" fmla="*/ 2147483646 h 100"/>
                <a:gd name="T22" fmla="*/ 2147483646 w 84"/>
                <a:gd name="T23" fmla="*/ 2147483646 h 100"/>
                <a:gd name="T24" fmla="*/ 2147483646 w 84"/>
                <a:gd name="T25" fmla="*/ 2147483646 h 100"/>
                <a:gd name="T26" fmla="*/ 2147483646 w 84"/>
                <a:gd name="T27" fmla="*/ 2147483646 h 100"/>
                <a:gd name="T28" fmla="*/ 2147483646 w 84"/>
                <a:gd name="T29" fmla="*/ 2147483646 h 100"/>
                <a:gd name="T30" fmla="*/ 2147483646 w 84"/>
                <a:gd name="T31" fmla="*/ 2147483646 h 100"/>
                <a:gd name="T32" fmla="*/ 2147483646 w 84"/>
                <a:gd name="T33" fmla="*/ 2147483646 h 100"/>
                <a:gd name="T34" fmla="*/ 0 w 84"/>
                <a:gd name="T35" fmla="*/ 2147483646 h 100"/>
                <a:gd name="T36" fmla="*/ 2147483646 w 84"/>
                <a:gd name="T37" fmla="*/ 2147483646 h 100"/>
                <a:gd name="T38" fmla="*/ 2147483646 w 84"/>
                <a:gd name="T39" fmla="*/ 2147483646 h 100"/>
                <a:gd name="T40" fmla="*/ 2147483646 w 84"/>
                <a:gd name="T41" fmla="*/ 2147483646 h 100"/>
                <a:gd name="T42" fmla="*/ 2147483646 w 84"/>
                <a:gd name="T43" fmla="*/ 2147483646 h 100"/>
                <a:gd name="T44" fmla="*/ 2147483646 w 84"/>
                <a:gd name="T45" fmla="*/ 0 h 10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4"/>
                <a:gd name="T70" fmla="*/ 0 h 100"/>
                <a:gd name="T71" fmla="*/ 84 w 84"/>
                <a:gd name="T72" fmla="*/ 100 h 10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4" h="100">
                  <a:moveTo>
                    <a:pt x="50" y="0"/>
                  </a:moveTo>
                  <a:lnTo>
                    <a:pt x="59" y="2"/>
                  </a:lnTo>
                  <a:lnTo>
                    <a:pt x="67" y="9"/>
                  </a:lnTo>
                  <a:lnTo>
                    <a:pt x="72" y="18"/>
                  </a:lnTo>
                  <a:lnTo>
                    <a:pt x="76" y="30"/>
                  </a:lnTo>
                  <a:lnTo>
                    <a:pt x="79" y="43"/>
                  </a:lnTo>
                  <a:lnTo>
                    <a:pt x="83" y="56"/>
                  </a:lnTo>
                  <a:lnTo>
                    <a:pt x="84" y="68"/>
                  </a:lnTo>
                  <a:lnTo>
                    <a:pt x="84" y="78"/>
                  </a:lnTo>
                  <a:lnTo>
                    <a:pt x="81" y="87"/>
                  </a:lnTo>
                  <a:lnTo>
                    <a:pt x="75" y="94"/>
                  </a:lnTo>
                  <a:lnTo>
                    <a:pt x="64" y="99"/>
                  </a:lnTo>
                  <a:lnTo>
                    <a:pt x="47" y="100"/>
                  </a:lnTo>
                  <a:lnTo>
                    <a:pt x="33" y="97"/>
                  </a:lnTo>
                  <a:lnTo>
                    <a:pt x="18" y="89"/>
                  </a:lnTo>
                  <a:lnTo>
                    <a:pt x="8" y="77"/>
                  </a:lnTo>
                  <a:lnTo>
                    <a:pt x="1" y="63"/>
                  </a:lnTo>
                  <a:lnTo>
                    <a:pt x="0" y="47"/>
                  </a:lnTo>
                  <a:lnTo>
                    <a:pt x="4" y="31"/>
                  </a:lnTo>
                  <a:lnTo>
                    <a:pt x="12" y="18"/>
                  </a:lnTo>
                  <a:lnTo>
                    <a:pt x="24" y="8"/>
                  </a:lnTo>
                  <a:lnTo>
                    <a:pt x="38" y="1"/>
                  </a:lnTo>
                  <a:lnTo>
                    <a:pt x="50"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3" name="Freeform 3131">
              <a:extLst>
                <a:ext uri="{FF2B5EF4-FFF2-40B4-BE49-F238E27FC236}">
                  <a16:creationId xmlns:a16="http://schemas.microsoft.com/office/drawing/2014/main" id="{549383A4-199A-428A-8EAD-6641E7741676}"/>
                </a:ext>
              </a:extLst>
            </p:cNvPr>
            <p:cNvSpPr>
              <a:spLocks/>
            </p:cNvSpPr>
            <p:nvPr/>
          </p:nvSpPr>
          <p:spPr bwMode="auto">
            <a:xfrm>
              <a:off x="10243750" y="2526695"/>
              <a:ext cx="751091" cy="317815"/>
            </a:xfrm>
            <a:custGeom>
              <a:avLst/>
              <a:gdLst>
                <a:gd name="T0" fmla="*/ 2147483646 w 631"/>
                <a:gd name="T1" fmla="*/ 0 h 267"/>
                <a:gd name="T2" fmla="*/ 2147483646 w 631"/>
                <a:gd name="T3" fmla="*/ 2147483646 h 267"/>
                <a:gd name="T4" fmla="*/ 2147483646 w 631"/>
                <a:gd name="T5" fmla="*/ 2147483646 h 267"/>
                <a:gd name="T6" fmla="*/ 2147483646 w 631"/>
                <a:gd name="T7" fmla="*/ 2147483646 h 267"/>
                <a:gd name="T8" fmla="*/ 2147483646 w 631"/>
                <a:gd name="T9" fmla="*/ 2147483646 h 267"/>
                <a:gd name="T10" fmla="*/ 2147483646 w 631"/>
                <a:gd name="T11" fmla="*/ 2147483646 h 267"/>
                <a:gd name="T12" fmla="*/ 2147483646 w 631"/>
                <a:gd name="T13" fmla="*/ 2147483646 h 267"/>
                <a:gd name="T14" fmla="*/ 2147483646 w 631"/>
                <a:gd name="T15" fmla="*/ 2147483646 h 267"/>
                <a:gd name="T16" fmla="*/ 2147483646 w 631"/>
                <a:gd name="T17" fmla="*/ 2147483646 h 267"/>
                <a:gd name="T18" fmla="*/ 2147483646 w 631"/>
                <a:gd name="T19" fmla="*/ 2147483646 h 267"/>
                <a:gd name="T20" fmla="*/ 2147483646 w 631"/>
                <a:gd name="T21" fmla="*/ 2147483646 h 267"/>
                <a:gd name="T22" fmla="*/ 2147483646 w 631"/>
                <a:gd name="T23" fmla="*/ 2147483646 h 267"/>
                <a:gd name="T24" fmla="*/ 2147483646 w 631"/>
                <a:gd name="T25" fmla="*/ 2147483646 h 267"/>
                <a:gd name="T26" fmla="*/ 2147483646 w 631"/>
                <a:gd name="T27" fmla="*/ 2147483646 h 267"/>
                <a:gd name="T28" fmla="*/ 2147483646 w 631"/>
                <a:gd name="T29" fmla="*/ 2147483646 h 267"/>
                <a:gd name="T30" fmla="*/ 2147483646 w 631"/>
                <a:gd name="T31" fmla="*/ 2147483646 h 267"/>
                <a:gd name="T32" fmla="*/ 2147483646 w 631"/>
                <a:gd name="T33" fmla="*/ 2147483646 h 267"/>
                <a:gd name="T34" fmla="*/ 2147483646 w 631"/>
                <a:gd name="T35" fmla="*/ 2147483646 h 267"/>
                <a:gd name="T36" fmla="*/ 0 w 631"/>
                <a:gd name="T37" fmla="*/ 2147483646 h 267"/>
                <a:gd name="T38" fmla="*/ 2147483646 w 631"/>
                <a:gd name="T39" fmla="*/ 2147483646 h 267"/>
                <a:gd name="T40" fmla="*/ 2147483646 w 631"/>
                <a:gd name="T41" fmla="*/ 2147483646 h 267"/>
                <a:gd name="T42" fmla="*/ 2147483646 w 631"/>
                <a:gd name="T43" fmla="*/ 2147483646 h 267"/>
                <a:gd name="T44" fmla="*/ 2147483646 w 631"/>
                <a:gd name="T45" fmla="*/ 2147483646 h 267"/>
                <a:gd name="T46" fmla="*/ 2147483646 w 631"/>
                <a:gd name="T47" fmla="*/ 2147483646 h 267"/>
                <a:gd name="T48" fmla="*/ 2147483646 w 631"/>
                <a:gd name="T49" fmla="*/ 0 h 2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1"/>
                <a:gd name="T76" fmla="*/ 0 h 267"/>
                <a:gd name="T77" fmla="*/ 631 w 631"/>
                <a:gd name="T78" fmla="*/ 267 h 2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1" h="267">
                  <a:moveTo>
                    <a:pt x="572" y="0"/>
                  </a:moveTo>
                  <a:lnTo>
                    <a:pt x="590" y="3"/>
                  </a:lnTo>
                  <a:lnTo>
                    <a:pt x="606" y="14"/>
                  </a:lnTo>
                  <a:lnTo>
                    <a:pt x="617" y="27"/>
                  </a:lnTo>
                  <a:lnTo>
                    <a:pt x="625" y="44"/>
                  </a:lnTo>
                  <a:lnTo>
                    <a:pt x="629" y="61"/>
                  </a:lnTo>
                  <a:lnTo>
                    <a:pt x="631" y="81"/>
                  </a:lnTo>
                  <a:lnTo>
                    <a:pt x="627" y="98"/>
                  </a:lnTo>
                  <a:lnTo>
                    <a:pt x="617" y="113"/>
                  </a:lnTo>
                  <a:lnTo>
                    <a:pt x="604" y="127"/>
                  </a:lnTo>
                  <a:lnTo>
                    <a:pt x="587" y="133"/>
                  </a:lnTo>
                  <a:lnTo>
                    <a:pt x="77" y="265"/>
                  </a:lnTo>
                  <a:lnTo>
                    <a:pt x="58" y="267"/>
                  </a:lnTo>
                  <a:lnTo>
                    <a:pt x="40" y="263"/>
                  </a:lnTo>
                  <a:lnTo>
                    <a:pt x="24" y="253"/>
                  </a:lnTo>
                  <a:lnTo>
                    <a:pt x="13" y="240"/>
                  </a:lnTo>
                  <a:lnTo>
                    <a:pt x="5" y="222"/>
                  </a:lnTo>
                  <a:lnTo>
                    <a:pt x="1" y="205"/>
                  </a:lnTo>
                  <a:lnTo>
                    <a:pt x="0" y="187"/>
                  </a:lnTo>
                  <a:lnTo>
                    <a:pt x="3" y="168"/>
                  </a:lnTo>
                  <a:lnTo>
                    <a:pt x="13" y="153"/>
                  </a:lnTo>
                  <a:lnTo>
                    <a:pt x="26" y="141"/>
                  </a:lnTo>
                  <a:lnTo>
                    <a:pt x="43" y="133"/>
                  </a:lnTo>
                  <a:lnTo>
                    <a:pt x="553" y="2"/>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4" name="Freeform 3132">
              <a:extLst>
                <a:ext uri="{FF2B5EF4-FFF2-40B4-BE49-F238E27FC236}">
                  <a16:creationId xmlns:a16="http://schemas.microsoft.com/office/drawing/2014/main" id="{84E5E437-6D80-447D-AD97-8F53F26C5D85}"/>
                </a:ext>
              </a:extLst>
            </p:cNvPr>
            <p:cNvSpPr>
              <a:spLocks/>
            </p:cNvSpPr>
            <p:nvPr/>
          </p:nvSpPr>
          <p:spPr bwMode="auto">
            <a:xfrm>
              <a:off x="10269937" y="2700481"/>
              <a:ext cx="99987" cy="120222"/>
            </a:xfrm>
            <a:custGeom>
              <a:avLst/>
              <a:gdLst>
                <a:gd name="T0" fmla="*/ 2147483646 w 84"/>
                <a:gd name="T1" fmla="*/ 0 h 101"/>
                <a:gd name="T2" fmla="*/ 2147483646 w 84"/>
                <a:gd name="T3" fmla="*/ 2147483646 h 101"/>
                <a:gd name="T4" fmla="*/ 2147483646 w 84"/>
                <a:gd name="T5" fmla="*/ 2147483646 h 101"/>
                <a:gd name="T6" fmla="*/ 2147483646 w 84"/>
                <a:gd name="T7" fmla="*/ 2147483646 h 101"/>
                <a:gd name="T8" fmla="*/ 2147483646 w 84"/>
                <a:gd name="T9" fmla="*/ 2147483646 h 101"/>
                <a:gd name="T10" fmla="*/ 2147483646 w 84"/>
                <a:gd name="T11" fmla="*/ 2147483646 h 101"/>
                <a:gd name="T12" fmla="*/ 2147483646 w 84"/>
                <a:gd name="T13" fmla="*/ 2147483646 h 101"/>
                <a:gd name="T14" fmla="*/ 2147483646 w 84"/>
                <a:gd name="T15" fmla="*/ 2147483646 h 101"/>
                <a:gd name="T16" fmla="*/ 2147483646 w 84"/>
                <a:gd name="T17" fmla="*/ 2147483646 h 101"/>
                <a:gd name="T18" fmla="*/ 2147483646 w 84"/>
                <a:gd name="T19" fmla="*/ 2147483646 h 101"/>
                <a:gd name="T20" fmla="*/ 2147483646 w 84"/>
                <a:gd name="T21" fmla="*/ 2147483646 h 101"/>
                <a:gd name="T22" fmla="*/ 2147483646 w 84"/>
                <a:gd name="T23" fmla="*/ 2147483646 h 101"/>
                <a:gd name="T24" fmla="*/ 2147483646 w 84"/>
                <a:gd name="T25" fmla="*/ 2147483646 h 101"/>
                <a:gd name="T26" fmla="*/ 2147483646 w 84"/>
                <a:gd name="T27" fmla="*/ 2147483646 h 101"/>
                <a:gd name="T28" fmla="*/ 2147483646 w 84"/>
                <a:gd name="T29" fmla="*/ 2147483646 h 101"/>
                <a:gd name="T30" fmla="*/ 2147483646 w 84"/>
                <a:gd name="T31" fmla="*/ 2147483646 h 101"/>
                <a:gd name="T32" fmla="*/ 2147483646 w 84"/>
                <a:gd name="T33" fmla="*/ 2147483646 h 101"/>
                <a:gd name="T34" fmla="*/ 0 w 84"/>
                <a:gd name="T35" fmla="*/ 2147483646 h 101"/>
                <a:gd name="T36" fmla="*/ 2147483646 w 84"/>
                <a:gd name="T37" fmla="*/ 2147483646 h 101"/>
                <a:gd name="T38" fmla="*/ 2147483646 w 84"/>
                <a:gd name="T39" fmla="*/ 2147483646 h 101"/>
                <a:gd name="T40" fmla="*/ 2147483646 w 84"/>
                <a:gd name="T41" fmla="*/ 2147483646 h 101"/>
                <a:gd name="T42" fmla="*/ 2147483646 w 84"/>
                <a:gd name="T43" fmla="*/ 2147483646 h 101"/>
                <a:gd name="T44" fmla="*/ 2147483646 w 84"/>
                <a:gd name="T45" fmla="*/ 0 h 10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4"/>
                <a:gd name="T70" fmla="*/ 0 h 101"/>
                <a:gd name="T71" fmla="*/ 84 w 84"/>
                <a:gd name="T72" fmla="*/ 101 h 10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4" h="101">
                  <a:moveTo>
                    <a:pt x="50" y="0"/>
                  </a:moveTo>
                  <a:lnTo>
                    <a:pt x="59" y="3"/>
                  </a:lnTo>
                  <a:lnTo>
                    <a:pt x="65" y="9"/>
                  </a:lnTo>
                  <a:lnTo>
                    <a:pt x="71" y="18"/>
                  </a:lnTo>
                  <a:lnTo>
                    <a:pt x="74" y="30"/>
                  </a:lnTo>
                  <a:lnTo>
                    <a:pt x="78" y="43"/>
                  </a:lnTo>
                  <a:lnTo>
                    <a:pt x="82" y="56"/>
                  </a:lnTo>
                  <a:lnTo>
                    <a:pt x="84" y="68"/>
                  </a:lnTo>
                  <a:lnTo>
                    <a:pt x="84" y="79"/>
                  </a:lnTo>
                  <a:lnTo>
                    <a:pt x="81" y="88"/>
                  </a:lnTo>
                  <a:lnTo>
                    <a:pt x="74" y="94"/>
                  </a:lnTo>
                  <a:lnTo>
                    <a:pt x="63" y="100"/>
                  </a:lnTo>
                  <a:lnTo>
                    <a:pt x="47" y="101"/>
                  </a:lnTo>
                  <a:lnTo>
                    <a:pt x="31" y="97"/>
                  </a:lnTo>
                  <a:lnTo>
                    <a:pt x="18" y="89"/>
                  </a:lnTo>
                  <a:lnTo>
                    <a:pt x="8" y="77"/>
                  </a:lnTo>
                  <a:lnTo>
                    <a:pt x="1" y="63"/>
                  </a:lnTo>
                  <a:lnTo>
                    <a:pt x="0" y="47"/>
                  </a:lnTo>
                  <a:lnTo>
                    <a:pt x="4" y="32"/>
                  </a:lnTo>
                  <a:lnTo>
                    <a:pt x="12" y="18"/>
                  </a:lnTo>
                  <a:lnTo>
                    <a:pt x="23" y="8"/>
                  </a:lnTo>
                  <a:lnTo>
                    <a:pt x="38" y="1"/>
                  </a:lnTo>
                  <a:lnTo>
                    <a:pt x="50"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5" name="Freeform 3133">
              <a:extLst>
                <a:ext uri="{FF2B5EF4-FFF2-40B4-BE49-F238E27FC236}">
                  <a16:creationId xmlns:a16="http://schemas.microsoft.com/office/drawing/2014/main" id="{C8E414E3-ADCF-4DF3-BDE1-7411EADF3DBB}"/>
                </a:ext>
              </a:extLst>
            </p:cNvPr>
            <p:cNvSpPr>
              <a:spLocks/>
            </p:cNvSpPr>
            <p:nvPr/>
          </p:nvSpPr>
          <p:spPr bwMode="auto">
            <a:xfrm>
              <a:off x="10277079" y="2337435"/>
              <a:ext cx="753471" cy="317815"/>
            </a:xfrm>
            <a:custGeom>
              <a:avLst/>
              <a:gdLst>
                <a:gd name="T0" fmla="*/ 2147483646 w 633"/>
                <a:gd name="T1" fmla="*/ 0 h 267"/>
                <a:gd name="T2" fmla="*/ 2147483646 w 633"/>
                <a:gd name="T3" fmla="*/ 2147483646 h 267"/>
                <a:gd name="T4" fmla="*/ 2147483646 w 633"/>
                <a:gd name="T5" fmla="*/ 2147483646 h 267"/>
                <a:gd name="T6" fmla="*/ 2147483646 w 633"/>
                <a:gd name="T7" fmla="*/ 2147483646 h 267"/>
                <a:gd name="T8" fmla="*/ 2147483646 w 633"/>
                <a:gd name="T9" fmla="*/ 2147483646 h 267"/>
                <a:gd name="T10" fmla="*/ 2147483646 w 633"/>
                <a:gd name="T11" fmla="*/ 2147483646 h 267"/>
                <a:gd name="T12" fmla="*/ 2147483646 w 633"/>
                <a:gd name="T13" fmla="*/ 2147483646 h 267"/>
                <a:gd name="T14" fmla="*/ 2147483646 w 633"/>
                <a:gd name="T15" fmla="*/ 2147483646 h 267"/>
                <a:gd name="T16" fmla="*/ 2147483646 w 633"/>
                <a:gd name="T17" fmla="*/ 2147483646 h 267"/>
                <a:gd name="T18" fmla="*/ 2147483646 w 633"/>
                <a:gd name="T19" fmla="*/ 2147483646 h 267"/>
                <a:gd name="T20" fmla="*/ 2147483646 w 633"/>
                <a:gd name="T21" fmla="*/ 2147483646 h 267"/>
                <a:gd name="T22" fmla="*/ 2147483646 w 633"/>
                <a:gd name="T23" fmla="*/ 2147483646 h 267"/>
                <a:gd name="T24" fmla="*/ 2147483646 w 633"/>
                <a:gd name="T25" fmla="*/ 2147483646 h 267"/>
                <a:gd name="T26" fmla="*/ 2147483646 w 633"/>
                <a:gd name="T27" fmla="*/ 2147483646 h 267"/>
                <a:gd name="T28" fmla="*/ 2147483646 w 633"/>
                <a:gd name="T29" fmla="*/ 2147483646 h 267"/>
                <a:gd name="T30" fmla="*/ 2147483646 w 633"/>
                <a:gd name="T31" fmla="*/ 2147483646 h 267"/>
                <a:gd name="T32" fmla="*/ 2147483646 w 633"/>
                <a:gd name="T33" fmla="*/ 2147483646 h 267"/>
                <a:gd name="T34" fmla="*/ 2147483646 w 633"/>
                <a:gd name="T35" fmla="*/ 2147483646 h 267"/>
                <a:gd name="T36" fmla="*/ 0 w 633"/>
                <a:gd name="T37" fmla="*/ 2147483646 h 267"/>
                <a:gd name="T38" fmla="*/ 2147483646 w 633"/>
                <a:gd name="T39" fmla="*/ 2147483646 h 267"/>
                <a:gd name="T40" fmla="*/ 2147483646 w 633"/>
                <a:gd name="T41" fmla="*/ 2147483646 h 267"/>
                <a:gd name="T42" fmla="*/ 2147483646 w 633"/>
                <a:gd name="T43" fmla="*/ 2147483646 h 267"/>
                <a:gd name="T44" fmla="*/ 2147483646 w 633"/>
                <a:gd name="T45" fmla="*/ 2147483646 h 267"/>
                <a:gd name="T46" fmla="*/ 2147483646 w 633"/>
                <a:gd name="T47" fmla="*/ 2147483646 h 267"/>
                <a:gd name="T48" fmla="*/ 2147483646 w 633"/>
                <a:gd name="T49" fmla="*/ 0 h 2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3"/>
                <a:gd name="T76" fmla="*/ 0 h 267"/>
                <a:gd name="T77" fmla="*/ 633 w 633"/>
                <a:gd name="T78" fmla="*/ 267 h 2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3" h="267">
                  <a:moveTo>
                    <a:pt x="572" y="0"/>
                  </a:moveTo>
                  <a:lnTo>
                    <a:pt x="591" y="4"/>
                  </a:lnTo>
                  <a:lnTo>
                    <a:pt x="606" y="13"/>
                  </a:lnTo>
                  <a:lnTo>
                    <a:pt x="618" y="28"/>
                  </a:lnTo>
                  <a:lnTo>
                    <a:pt x="626" y="45"/>
                  </a:lnTo>
                  <a:lnTo>
                    <a:pt x="630" y="62"/>
                  </a:lnTo>
                  <a:lnTo>
                    <a:pt x="633" y="80"/>
                  </a:lnTo>
                  <a:lnTo>
                    <a:pt x="629" y="98"/>
                  </a:lnTo>
                  <a:lnTo>
                    <a:pt x="620" y="114"/>
                  </a:lnTo>
                  <a:lnTo>
                    <a:pt x="605" y="126"/>
                  </a:lnTo>
                  <a:lnTo>
                    <a:pt x="588" y="134"/>
                  </a:lnTo>
                  <a:lnTo>
                    <a:pt x="79" y="266"/>
                  </a:lnTo>
                  <a:lnTo>
                    <a:pt x="59" y="267"/>
                  </a:lnTo>
                  <a:lnTo>
                    <a:pt x="42" y="263"/>
                  </a:lnTo>
                  <a:lnTo>
                    <a:pt x="27" y="254"/>
                  </a:lnTo>
                  <a:lnTo>
                    <a:pt x="13" y="240"/>
                  </a:lnTo>
                  <a:lnTo>
                    <a:pt x="7" y="223"/>
                  </a:lnTo>
                  <a:lnTo>
                    <a:pt x="2" y="206"/>
                  </a:lnTo>
                  <a:lnTo>
                    <a:pt x="0" y="187"/>
                  </a:lnTo>
                  <a:lnTo>
                    <a:pt x="4" y="169"/>
                  </a:lnTo>
                  <a:lnTo>
                    <a:pt x="13" y="153"/>
                  </a:lnTo>
                  <a:lnTo>
                    <a:pt x="27" y="142"/>
                  </a:lnTo>
                  <a:lnTo>
                    <a:pt x="45" y="134"/>
                  </a:lnTo>
                  <a:lnTo>
                    <a:pt x="554" y="1"/>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6" name="Freeform 3134">
              <a:extLst>
                <a:ext uri="{FF2B5EF4-FFF2-40B4-BE49-F238E27FC236}">
                  <a16:creationId xmlns:a16="http://schemas.microsoft.com/office/drawing/2014/main" id="{02FA563C-D006-432A-8FC5-BE8CF5277F36}"/>
                </a:ext>
              </a:extLst>
            </p:cNvPr>
            <p:cNvSpPr>
              <a:spLocks/>
            </p:cNvSpPr>
            <p:nvPr/>
          </p:nvSpPr>
          <p:spPr bwMode="auto">
            <a:xfrm>
              <a:off x="10304456" y="2510031"/>
              <a:ext cx="98797" cy="122603"/>
            </a:xfrm>
            <a:custGeom>
              <a:avLst/>
              <a:gdLst>
                <a:gd name="T0" fmla="*/ 2147483646 w 83"/>
                <a:gd name="T1" fmla="*/ 0 h 103"/>
                <a:gd name="T2" fmla="*/ 2147483646 w 83"/>
                <a:gd name="T3" fmla="*/ 2147483646 h 103"/>
                <a:gd name="T4" fmla="*/ 2147483646 w 83"/>
                <a:gd name="T5" fmla="*/ 2147483646 h 103"/>
                <a:gd name="T6" fmla="*/ 2147483646 w 83"/>
                <a:gd name="T7" fmla="*/ 2147483646 h 103"/>
                <a:gd name="T8" fmla="*/ 2147483646 w 83"/>
                <a:gd name="T9" fmla="*/ 2147483646 h 103"/>
                <a:gd name="T10" fmla="*/ 2147483646 w 83"/>
                <a:gd name="T11" fmla="*/ 2147483646 h 103"/>
                <a:gd name="T12" fmla="*/ 2147483646 w 83"/>
                <a:gd name="T13" fmla="*/ 2147483646 h 103"/>
                <a:gd name="T14" fmla="*/ 2147483646 w 83"/>
                <a:gd name="T15" fmla="*/ 2147483646 h 103"/>
                <a:gd name="T16" fmla="*/ 2147483646 w 83"/>
                <a:gd name="T17" fmla="*/ 2147483646 h 103"/>
                <a:gd name="T18" fmla="*/ 2147483646 w 83"/>
                <a:gd name="T19" fmla="*/ 2147483646 h 103"/>
                <a:gd name="T20" fmla="*/ 2147483646 w 83"/>
                <a:gd name="T21" fmla="*/ 2147483646 h 103"/>
                <a:gd name="T22" fmla="*/ 2147483646 w 83"/>
                <a:gd name="T23" fmla="*/ 2147483646 h 103"/>
                <a:gd name="T24" fmla="*/ 2147483646 w 83"/>
                <a:gd name="T25" fmla="*/ 2147483646 h 103"/>
                <a:gd name="T26" fmla="*/ 2147483646 w 83"/>
                <a:gd name="T27" fmla="*/ 2147483646 h 103"/>
                <a:gd name="T28" fmla="*/ 2147483646 w 83"/>
                <a:gd name="T29" fmla="*/ 2147483646 h 103"/>
                <a:gd name="T30" fmla="*/ 2147483646 w 83"/>
                <a:gd name="T31" fmla="*/ 2147483646 h 103"/>
                <a:gd name="T32" fmla="*/ 2147483646 w 83"/>
                <a:gd name="T33" fmla="*/ 2147483646 h 103"/>
                <a:gd name="T34" fmla="*/ 0 w 83"/>
                <a:gd name="T35" fmla="*/ 2147483646 h 103"/>
                <a:gd name="T36" fmla="*/ 2147483646 w 83"/>
                <a:gd name="T37" fmla="*/ 2147483646 h 103"/>
                <a:gd name="T38" fmla="*/ 2147483646 w 83"/>
                <a:gd name="T39" fmla="*/ 2147483646 h 103"/>
                <a:gd name="T40" fmla="*/ 2147483646 w 83"/>
                <a:gd name="T41" fmla="*/ 2147483646 h 103"/>
                <a:gd name="T42" fmla="*/ 2147483646 w 83"/>
                <a:gd name="T43" fmla="*/ 2147483646 h 103"/>
                <a:gd name="T44" fmla="*/ 2147483646 w 83"/>
                <a:gd name="T45" fmla="*/ 0 h 103"/>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3"/>
                <a:gd name="T70" fmla="*/ 0 h 103"/>
                <a:gd name="T71" fmla="*/ 83 w 83"/>
                <a:gd name="T72" fmla="*/ 103 h 103"/>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3" h="103">
                  <a:moveTo>
                    <a:pt x="49" y="0"/>
                  </a:moveTo>
                  <a:lnTo>
                    <a:pt x="59" y="4"/>
                  </a:lnTo>
                  <a:lnTo>
                    <a:pt x="66" y="11"/>
                  </a:lnTo>
                  <a:lnTo>
                    <a:pt x="72" y="20"/>
                  </a:lnTo>
                  <a:lnTo>
                    <a:pt x="76" y="31"/>
                  </a:lnTo>
                  <a:lnTo>
                    <a:pt x="78" y="44"/>
                  </a:lnTo>
                  <a:lnTo>
                    <a:pt x="82" y="57"/>
                  </a:lnTo>
                  <a:lnTo>
                    <a:pt x="83" y="70"/>
                  </a:lnTo>
                  <a:lnTo>
                    <a:pt x="83" y="80"/>
                  </a:lnTo>
                  <a:lnTo>
                    <a:pt x="81" y="88"/>
                  </a:lnTo>
                  <a:lnTo>
                    <a:pt x="74" y="96"/>
                  </a:lnTo>
                  <a:lnTo>
                    <a:pt x="64" y="100"/>
                  </a:lnTo>
                  <a:lnTo>
                    <a:pt x="47" y="103"/>
                  </a:lnTo>
                  <a:lnTo>
                    <a:pt x="32" y="99"/>
                  </a:lnTo>
                  <a:lnTo>
                    <a:pt x="18" y="91"/>
                  </a:lnTo>
                  <a:lnTo>
                    <a:pt x="7" y="79"/>
                  </a:lnTo>
                  <a:lnTo>
                    <a:pt x="1" y="65"/>
                  </a:lnTo>
                  <a:lnTo>
                    <a:pt x="0" y="48"/>
                  </a:lnTo>
                  <a:lnTo>
                    <a:pt x="4" y="33"/>
                  </a:lnTo>
                  <a:lnTo>
                    <a:pt x="11" y="19"/>
                  </a:lnTo>
                  <a:lnTo>
                    <a:pt x="23" y="8"/>
                  </a:lnTo>
                  <a:lnTo>
                    <a:pt x="38" y="2"/>
                  </a:lnTo>
                  <a:lnTo>
                    <a:pt x="49"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7" name="Freeform 3135">
              <a:extLst>
                <a:ext uri="{FF2B5EF4-FFF2-40B4-BE49-F238E27FC236}">
                  <a16:creationId xmlns:a16="http://schemas.microsoft.com/office/drawing/2014/main" id="{DB2885EA-719B-4AA1-884A-9E3C06283A46}"/>
                </a:ext>
              </a:extLst>
            </p:cNvPr>
            <p:cNvSpPr>
              <a:spLocks/>
            </p:cNvSpPr>
            <p:nvPr/>
          </p:nvSpPr>
          <p:spPr bwMode="auto">
            <a:xfrm>
              <a:off x="10337785" y="2139842"/>
              <a:ext cx="753471" cy="317815"/>
            </a:xfrm>
            <a:custGeom>
              <a:avLst/>
              <a:gdLst>
                <a:gd name="T0" fmla="*/ 2147483646 w 633"/>
                <a:gd name="T1" fmla="*/ 0 h 267"/>
                <a:gd name="T2" fmla="*/ 2147483646 w 633"/>
                <a:gd name="T3" fmla="*/ 2147483646 h 267"/>
                <a:gd name="T4" fmla="*/ 2147483646 w 633"/>
                <a:gd name="T5" fmla="*/ 2147483646 h 267"/>
                <a:gd name="T6" fmla="*/ 2147483646 w 633"/>
                <a:gd name="T7" fmla="*/ 2147483646 h 267"/>
                <a:gd name="T8" fmla="*/ 2147483646 w 633"/>
                <a:gd name="T9" fmla="*/ 2147483646 h 267"/>
                <a:gd name="T10" fmla="*/ 2147483646 w 633"/>
                <a:gd name="T11" fmla="*/ 2147483646 h 267"/>
                <a:gd name="T12" fmla="*/ 2147483646 w 633"/>
                <a:gd name="T13" fmla="*/ 2147483646 h 267"/>
                <a:gd name="T14" fmla="*/ 2147483646 w 633"/>
                <a:gd name="T15" fmla="*/ 2147483646 h 267"/>
                <a:gd name="T16" fmla="*/ 2147483646 w 633"/>
                <a:gd name="T17" fmla="*/ 2147483646 h 267"/>
                <a:gd name="T18" fmla="*/ 2147483646 w 633"/>
                <a:gd name="T19" fmla="*/ 2147483646 h 267"/>
                <a:gd name="T20" fmla="*/ 2147483646 w 633"/>
                <a:gd name="T21" fmla="*/ 2147483646 h 267"/>
                <a:gd name="T22" fmla="*/ 2147483646 w 633"/>
                <a:gd name="T23" fmla="*/ 2147483646 h 267"/>
                <a:gd name="T24" fmla="*/ 2147483646 w 633"/>
                <a:gd name="T25" fmla="*/ 2147483646 h 267"/>
                <a:gd name="T26" fmla="*/ 2147483646 w 633"/>
                <a:gd name="T27" fmla="*/ 2147483646 h 267"/>
                <a:gd name="T28" fmla="*/ 2147483646 w 633"/>
                <a:gd name="T29" fmla="*/ 2147483646 h 267"/>
                <a:gd name="T30" fmla="*/ 2147483646 w 633"/>
                <a:gd name="T31" fmla="*/ 2147483646 h 267"/>
                <a:gd name="T32" fmla="*/ 2147483646 w 633"/>
                <a:gd name="T33" fmla="*/ 2147483646 h 267"/>
                <a:gd name="T34" fmla="*/ 2147483646 w 633"/>
                <a:gd name="T35" fmla="*/ 2147483646 h 267"/>
                <a:gd name="T36" fmla="*/ 0 w 633"/>
                <a:gd name="T37" fmla="*/ 2147483646 h 267"/>
                <a:gd name="T38" fmla="*/ 2147483646 w 633"/>
                <a:gd name="T39" fmla="*/ 2147483646 h 267"/>
                <a:gd name="T40" fmla="*/ 2147483646 w 633"/>
                <a:gd name="T41" fmla="*/ 2147483646 h 267"/>
                <a:gd name="T42" fmla="*/ 2147483646 w 633"/>
                <a:gd name="T43" fmla="*/ 2147483646 h 267"/>
                <a:gd name="T44" fmla="*/ 2147483646 w 633"/>
                <a:gd name="T45" fmla="*/ 2147483646 h 267"/>
                <a:gd name="T46" fmla="*/ 2147483646 w 633"/>
                <a:gd name="T47" fmla="*/ 2147483646 h 267"/>
                <a:gd name="T48" fmla="*/ 2147483646 w 633"/>
                <a:gd name="T49" fmla="*/ 0 h 2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633"/>
                <a:gd name="T76" fmla="*/ 0 h 267"/>
                <a:gd name="T77" fmla="*/ 633 w 633"/>
                <a:gd name="T78" fmla="*/ 267 h 267"/>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633" h="267">
                  <a:moveTo>
                    <a:pt x="572" y="0"/>
                  </a:moveTo>
                  <a:lnTo>
                    <a:pt x="591" y="4"/>
                  </a:lnTo>
                  <a:lnTo>
                    <a:pt x="607" y="13"/>
                  </a:lnTo>
                  <a:lnTo>
                    <a:pt x="618" y="26"/>
                  </a:lnTo>
                  <a:lnTo>
                    <a:pt x="626" y="44"/>
                  </a:lnTo>
                  <a:lnTo>
                    <a:pt x="630" y="61"/>
                  </a:lnTo>
                  <a:lnTo>
                    <a:pt x="633" y="80"/>
                  </a:lnTo>
                  <a:lnTo>
                    <a:pt x="629" y="98"/>
                  </a:lnTo>
                  <a:lnTo>
                    <a:pt x="620" y="114"/>
                  </a:lnTo>
                  <a:lnTo>
                    <a:pt x="605" y="126"/>
                  </a:lnTo>
                  <a:lnTo>
                    <a:pt x="588" y="133"/>
                  </a:lnTo>
                  <a:lnTo>
                    <a:pt x="79" y="264"/>
                  </a:lnTo>
                  <a:lnTo>
                    <a:pt x="59" y="267"/>
                  </a:lnTo>
                  <a:lnTo>
                    <a:pt x="42" y="263"/>
                  </a:lnTo>
                  <a:lnTo>
                    <a:pt x="27" y="254"/>
                  </a:lnTo>
                  <a:lnTo>
                    <a:pt x="14" y="239"/>
                  </a:lnTo>
                  <a:lnTo>
                    <a:pt x="7" y="222"/>
                  </a:lnTo>
                  <a:lnTo>
                    <a:pt x="2" y="205"/>
                  </a:lnTo>
                  <a:lnTo>
                    <a:pt x="0" y="186"/>
                  </a:lnTo>
                  <a:lnTo>
                    <a:pt x="4" y="169"/>
                  </a:lnTo>
                  <a:lnTo>
                    <a:pt x="14" y="153"/>
                  </a:lnTo>
                  <a:lnTo>
                    <a:pt x="27" y="140"/>
                  </a:lnTo>
                  <a:lnTo>
                    <a:pt x="45" y="133"/>
                  </a:lnTo>
                  <a:lnTo>
                    <a:pt x="554" y="1"/>
                  </a:lnTo>
                  <a:lnTo>
                    <a:pt x="572" y="0"/>
                  </a:lnTo>
                  <a:close/>
                </a:path>
              </a:pathLst>
            </a:custGeom>
            <a:solidFill>
              <a:srgbClr val="F7D1B4"/>
            </a:solidFill>
            <a:ln w="0">
              <a:solidFill>
                <a:srgbClr val="F7D1B4"/>
              </a:solidFill>
              <a:round/>
              <a:headEnd/>
              <a:tailEnd/>
            </a:ln>
          </p:spPr>
          <p:txBody>
            <a:bodyPr/>
            <a:lstStyle/>
            <a:p>
              <a:endParaRPr lang="es-ES">
                <a:solidFill>
                  <a:prstClr val="black"/>
                </a:solidFill>
                <a:latin typeface="Calibri" panose="020F0502020204030204"/>
              </a:endParaRPr>
            </a:p>
          </p:txBody>
        </p:sp>
        <p:sp>
          <p:nvSpPr>
            <p:cNvPr id="18" name="Freeform 3136">
              <a:extLst>
                <a:ext uri="{FF2B5EF4-FFF2-40B4-BE49-F238E27FC236}">
                  <a16:creationId xmlns:a16="http://schemas.microsoft.com/office/drawing/2014/main" id="{EE1963EE-FEA5-4188-9A7B-FC60E4A9C743}"/>
                </a:ext>
              </a:extLst>
            </p:cNvPr>
            <p:cNvSpPr>
              <a:spLocks/>
            </p:cNvSpPr>
            <p:nvPr/>
          </p:nvSpPr>
          <p:spPr bwMode="auto">
            <a:xfrm>
              <a:off x="10365162" y="2312438"/>
              <a:ext cx="98797" cy="120222"/>
            </a:xfrm>
            <a:custGeom>
              <a:avLst/>
              <a:gdLst>
                <a:gd name="T0" fmla="*/ 2147483646 w 83"/>
                <a:gd name="T1" fmla="*/ 0 h 101"/>
                <a:gd name="T2" fmla="*/ 2147483646 w 83"/>
                <a:gd name="T3" fmla="*/ 2147483646 h 101"/>
                <a:gd name="T4" fmla="*/ 2147483646 w 83"/>
                <a:gd name="T5" fmla="*/ 2147483646 h 101"/>
                <a:gd name="T6" fmla="*/ 2147483646 w 83"/>
                <a:gd name="T7" fmla="*/ 2147483646 h 101"/>
                <a:gd name="T8" fmla="*/ 2147483646 w 83"/>
                <a:gd name="T9" fmla="*/ 2147483646 h 101"/>
                <a:gd name="T10" fmla="*/ 2147483646 w 83"/>
                <a:gd name="T11" fmla="*/ 2147483646 h 101"/>
                <a:gd name="T12" fmla="*/ 2147483646 w 83"/>
                <a:gd name="T13" fmla="*/ 2147483646 h 101"/>
                <a:gd name="T14" fmla="*/ 2147483646 w 83"/>
                <a:gd name="T15" fmla="*/ 2147483646 h 101"/>
                <a:gd name="T16" fmla="*/ 2147483646 w 83"/>
                <a:gd name="T17" fmla="*/ 2147483646 h 101"/>
                <a:gd name="T18" fmla="*/ 2147483646 w 83"/>
                <a:gd name="T19" fmla="*/ 2147483646 h 101"/>
                <a:gd name="T20" fmla="*/ 2147483646 w 83"/>
                <a:gd name="T21" fmla="*/ 2147483646 h 101"/>
                <a:gd name="T22" fmla="*/ 2147483646 w 83"/>
                <a:gd name="T23" fmla="*/ 2147483646 h 101"/>
                <a:gd name="T24" fmla="*/ 2147483646 w 83"/>
                <a:gd name="T25" fmla="*/ 2147483646 h 101"/>
                <a:gd name="T26" fmla="*/ 2147483646 w 83"/>
                <a:gd name="T27" fmla="*/ 2147483646 h 101"/>
                <a:gd name="T28" fmla="*/ 2147483646 w 83"/>
                <a:gd name="T29" fmla="*/ 2147483646 h 101"/>
                <a:gd name="T30" fmla="*/ 2147483646 w 83"/>
                <a:gd name="T31" fmla="*/ 2147483646 h 101"/>
                <a:gd name="T32" fmla="*/ 2147483646 w 83"/>
                <a:gd name="T33" fmla="*/ 2147483646 h 101"/>
                <a:gd name="T34" fmla="*/ 0 w 83"/>
                <a:gd name="T35" fmla="*/ 2147483646 h 101"/>
                <a:gd name="T36" fmla="*/ 2147483646 w 83"/>
                <a:gd name="T37" fmla="*/ 2147483646 h 101"/>
                <a:gd name="T38" fmla="*/ 2147483646 w 83"/>
                <a:gd name="T39" fmla="*/ 2147483646 h 101"/>
                <a:gd name="T40" fmla="*/ 2147483646 w 83"/>
                <a:gd name="T41" fmla="*/ 2147483646 h 101"/>
                <a:gd name="T42" fmla="*/ 2147483646 w 83"/>
                <a:gd name="T43" fmla="*/ 2147483646 h 101"/>
                <a:gd name="T44" fmla="*/ 2147483646 w 83"/>
                <a:gd name="T45" fmla="*/ 0 h 10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83"/>
                <a:gd name="T70" fmla="*/ 0 h 101"/>
                <a:gd name="T71" fmla="*/ 83 w 83"/>
                <a:gd name="T72" fmla="*/ 101 h 10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83" h="101">
                  <a:moveTo>
                    <a:pt x="49" y="0"/>
                  </a:moveTo>
                  <a:lnTo>
                    <a:pt x="59" y="3"/>
                  </a:lnTo>
                  <a:lnTo>
                    <a:pt x="66" y="9"/>
                  </a:lnTo>
                  <a:lnTo>
                    <a:pt x="72" y="19"/>
                  </a:lnTo>
                  <a:lnTo>
                    <a:pt x="76" y="30"/>
                  </a:lnTo>
                  <a:lnTo>
                    <a:pt x="78" y="43"/>
                  </a:lnTo>
                  <a:lnTo>
                    <a:pt x="82" y="56"/>
                  </a:lnTo>
                  <a:lnTo>
                    <a:pt x="83" y="68"/>
                  </a:lnTo>
                  <a:lnTo>
                    <a:pt x="83" y="79"/>
                  </a:lnTo>
                  <a:lnTo>
                    <a:pt x="81" y="88"/>
                  </a:lnTo>
                  <a:lnTo>
                    <a:pt x="74" y="96"/>
                  </a:lnTo>
                  <a:lnTo>
                    <a:pt x="64" y="100"/>
                  </a:lnTo>
                  <a:lnTo>
                    <a:pt x="47" y="101"/>
                  </a:lnTo>
                  <a:lnTo>
                    <a:pt x="32" y="98"/>
                  </a:lnTo>
                  <a:lnTo>
                    <a:pt x="18" y="91"/>
                  </a:lnTo>
                  <a:lnTo>
                    <a:pt x="8" y="79"/>
                  </a:lnTo>
                  <a:lnTo>
                    <a:pt x="1" y="63"/>
                  </a:lnTo>
                  <a:lnTo>
                    <a:pt x="0" y="47"/>
                  </a:lnTo>
                  <a:lnTo>
                    <a:pt x="4" y="32"/>
                  </a:lnTo>
                  <a:lnTo>
                    <a:pt x="11" y="19"/>
                  </a:lnTo>
                  <a:lnTo>
                    <a:pt x="23" y="8"/>
                  </a:lnTo>
                  <a:lnTo>
                    <a:pt x="38" y="1"/>
                  </a:lnTo>
                  <a:lnTo>
                    <a:pt x="49" y="0"/>
                  </a:lnTo>
                  <a:close/>
                </a:path>
              </a:pathLst>
            </a:custGeom>
            <a:solidFill>
              <a:srgbClr val="FFECDE"/>
            </a:solidFill>
            <a:ln w="0">
              <a:solidFill>
                <a:srgbClr val="FFECDE"/>
              </a:solidFill>
              <a:round/>
              <a:headEnd/>
              <a:tailEnd/>
            </a:ln>
          </p:spPr>
          <p:txBody>
            <a:bodyPr/>
            <a:lstStyle/>
            <a:p>
              <a:endParaRPr lang="es-ES">
                <a:solidFill>
                  <a:prstClr val="black"/>
                </a:solidFill>
                <a:latin typeface="Calibri" panose="020F0502020204030204"/>
              </a:endParaRPr>
            </a:p>
          </p:txBody>
        </p:sp>
        <p:sp>
          <p:nvSpPr>
            <p:cNvPr id="19" name="Freeform 3137">
              <a:extLst>
                <a:ext uri="{FF2B5EF4-FFF2-40B4-BE49-F238E27FC236}">
                  <a16:creationId xmlns:a16="http://schemas.microsoft.com/office/drawing/2014/main" id="{92D476E7-8536-4B6E-8764-C35B20986F8D}"/>
                </a:ext>
              </a:extLst>
            </p:cNvPr>
            <p:cNvSpPr>
              <a:spLocks/>
            </p:cNvSpPr>
            <p:nvPr/>
          </p:nvSpPr>
          <p:spPr bwMode="auto">
            <a:xfrm>
              <a:off x="11390025" y="1881543"/>
              <a:ext cx="796323" cy="792751"/>
            </a:xfrm>
            <a:custGeom>
              <a:avLst/>
              <a:gdLst>
                <a:gd name="T0" fmla="*/ 2147483646 w 669"/>
                <a:gd name="T1" fmla="*/ 0 h 666"/>
                <a:gd name="T2" fmla="*/ 2147483646 w 669"/>
                <a:gd name="T3" fmla="*/ 2147483646 h 666"/>
                <a:gd name="T4" fmla="*/ 2147483646 w 669"/>
                <a:gd name="T5" fmla="*/ 2147483646 h 666"/>
                <a:gd name="T6" fmla="*/ 2147483646 w 669"/>
                <a:gd name="T7" fmla="*/ 2147483646 h 666"/>
                <a:gd name="T8" fmla="*/ 2147483646 w 669"/>
                <a:gd name="T9" fmla="*/ 2147483646 h 666"/>
                <a:gd name="T10" fmla="*/ 2147483646 w 669"/>
                <a:gd name="T11" fmla="*/ 2147483646 h 666"/>
                <a:gd name="T12" fmla="*/ 0 w 669"/>
                <a:gd name="T13" fmla="*/ 2147483646 h 666"/>
                <a:gd name="T14" fmla="*/ 2147483646 w 669"/>
                <a:gd name="T15" fmla="*/ 0 h 666"/>
                <a:gd name="T16" fmla="*/ 0 60000 65536"/>
                <a:gd name="T17" fmla="*/ 0 60000 65536"/>
                <a:gd name="T18" fmla="*/ 0 60000 65536"/>
                <a:gd name="T19" fmla="*/ 0 60000 65536"/>
                <a:gd name="T20" fmla="*/ 0 60000 65536"/>
                <a:gd name="T21" fmla="*/ 0 60000 65536"/>
                <a:gd name="T22" fmla="*/ 0 60000 65536"/>
                <a:gd name="T23" fmla="*/ 0 60000 65536"/>
                <a:gd name="T24" fmla="*/ 0 w 669"/>
                <a:gd name="T25" fmla="*/ 0 h 666"/>
                <a:gd name="T26" fmla="*/ 669 w 669"/>
                <a:gd name="T27" fmla="*/ 666 h 6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69" h="666">
                  <a:moveTo>
                    <a:pt x="669" y="0"/>
                  </a:moveTo>
                  <a:lnTo>
                    <a:pt x="669" y="526"/>
                  </a:lnTo>
                  <a:lnTo>
                    <a:pt x="127" y="666"/>
                  </a:lnTo>
                  <a:lnTo>
                    <a:pt x="41" y="328"/>
                  </a:lnTo>
                  <a:lnTo>
                    <a:pt x="162" y="274"/>
                  </a:lnTo>
                  <a:lnTo>
                    <a:pt x="28" y="280"/>
                  </a:lnTo>
                  <a:lnTo>
                    <a:pt x="0" y="172"/>
                  </a:lnTo>
                  <a:lnTo>
                    <a:pt x="669" y="0"/>
                  </a:lnTo>
                  <a:close/>
                </a:path>
              </a:pathLst>
            </a:custGeom>
            <a:solidFill>
              <a:srgbClr val="C49E72"/>
            </a:solidFill>
            <a:ln w="0">
              <a:solidFill>
                <a:srgbClr val="C49E72"/>
              </a:solidFill>
              <a:round/>
              <a:headEnd/>
              <a:tailEnd/>
            </a:ln>
          </p:spPr>
          <p:txBody>
            <a:bodyPr/>
            <a:lstStyle/>
            <a:p>
              <a:endParaRPr lang="es-ES">
                <a:solidFill>
                  <a:prstClr val="black"/>
                </a:solidFill>
                <a:latin typeface="Calibri" panose="020F0502020204030204"/>
              </a:endParaRPr>
            </a:p>
          </p:txBody>
        </p:sp>
        <p:sp>
          <p:nvSpPr>
            <p:cNvPr id="20" name="Freeform 3138">
              <a:extLst>
                <a:ext uri="{FF2B5EF4-FFF2-40B4-BE49-F238E27FC236}">
                  <a16:creationId xmlns:a16="http://schemas.microsoft.com/office/drawing/2014/main" id="{25614AAA-805E-4E8C-8E08-6B57F2572ADA}"/>
                </a:ext>
              </a:extLst>
            </p:cNvPr>
            <p:cNvSpPr>
              <a:spLocks/>
            </p:cNvSpPr>
            <p:nvPr/>
          </p:nvSpPr>
          <p:spPr bwMode="auto">
            <a:xfrm>
              <a:off x="11460254" y="2095800"/>
              <a:ext cx="80942" cy="80942"/>
            </a:xfrm>
            <a:custGeom>
              <a:avLst/>
              <a:gdLst>
                <a:gd name="T0" fmla="*/ 2147483646 w 68"/>
                <a:gd name="T1" fmla="*/ 0 h 68"/>
                <a:gd name="T2" fmla="*/ 2147483646 w 68"/>
                <a:gd name="T3" fmla="*/ 2147483646 h 68"/>
                <a:gd name="T4" fmla="*/ 2147483646 w 68"/>
                <a:gd name="T5" fmla="*/ 2147483646 h 68"/>
                <a:gd name="T6" fmla="*/ 2147483646 w 68"/>
                <a:gd name="T7" fmla="*/ 2147483646 h 68"/>
                <a:gd name="T8" fmla="*/ 2147483646 w 68"/>
                <a:gd name="T9" fmla="*/ 2147483646 h 68"/>
                <a:gd name="T10" fmla="*/ 2147483646 w 68"/>
                <a:gd name="T11" fmla="*/ 2147483646 h 68"/>
                <a:gd name="T12" fmla="*/ 2147483646 w 68"/>
                <a:gd name="T13" fmla="*/ 2147483646 h 68"/>
                <a:gd name="T14" fmla="*/ 2147483646 w 68"/>
                <a:gd name="T15" fmla="*/ 2147483646 h 68"/>
                <a:gd name="T16" fmla="*/ 2147483646 w 68"/>
                <a:gd name="T17" fmla="*/ 2147483646 h 68"/>
                <a:gd name="T18" fmla="*/ 2147483646 w 68"/>
                <a:gd name="T19" fmla="*/ 2147483646 h 68"/>
                <a:gd name="T20" fmla="*/ 2147483646 w 68"/>
                <a:gd name="T21" fmla="*/ 2147483646 h 68"/>
                <a:gd name="T22" fmla="*/ 0 w 68"/>
                <a:gd name="T23" fmla="*/ 2147483646 h 68"/>
                <a:gd name="T24" fmla="*/ 0 w 68"/>
                <a:gd name="T25" fmla="*/ 2147483646 h 68"/>
                <a:gd name="T26" fmla="*/ 2147483646 w 68"/>
                <a:gd name="T27" fmla="*/ 2147483646 h 68"/>
                <a:gd name="T28" fmla="*/ 2147483646 w 68"/>
                <a:gd name="T29" fmla="*/ 2147483646 h 68"/>
                <a:gd name="T30" fmla="*/ 2147483646 w 68"/>
                <a:gd name="T31" fmla="*/ 0 h 68"/>
                <a:gd name="T32" fmla="*/ 2147483646 w 68"/>
                <a:gd name="T33" fmla="*/ 0 h 6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68"/>
                <a:gd name="T52" fmla="*/ 0 h 68"/>
                <a:gd name="T53" fmla="*/ 68 w 68"/>
                <a:gd name="T54" fmla="*/ 68 h 6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68" h="68">
                  <a:moveTo>
                    <a:pt x="38" y="0"/>
                  </a:moveTo>
                  <a:lnTo>
                    <a:pt x="51" y="4"/>
                  </a:lnTo>
                  <a:lnTo>
                    <a:pt x="61" y="13"/>
                  </a:lnTo>
                  <a:lnTo>
                    <a:pt x="67" y="25"/>
                  </a:lnTo>
                  <a:lnTo>
                    <a:pt x="68" y="39"/>
                  </a:lnTo>
                  <a:lnTo>
                    <a:pt x="63" y="51"/>
                  </a:lnTo>
                  <a:lnTo>
                    <a:pt x="55" y="62"/>
                  </a:lnTo>
                  <a:lnTo>
                    <a:pt x="42" y="67"/>
                  </a:lnTo>
                  <a:lnTo>
                    <a:pt x="29" y="68"/>
                  </a:lnTo>
                  <a:lnTo>
                    <a:pt x="16" y="64"/>
                  </a:lnTo>
                  <a:lnTo>
                    <a:pt x="7" y="55"/>
                  </a:lnTo>
                  <a:lnTo>
                    <a:pt x="0" y="43"/>
                  </a:lnTo>
                  <a:lnTo>
                    <a:pt x="0" y="29"/>
                  </a:lnTo>
                  <a:lnTo>
                    <a:pt x="4" y="17"/>
                  </a:lnTo>
                  <a:lnTo>
                    <a:pt x="13" y="7"/>
                  </a:lnTo>
                  <a:lnTo>
                    <a:pt x="25" y="0"/>
                  </a:lnTo>
                  <a:lnTo>
                    <a:pt x="38" y="0"/>
                  </a:lnTo>
                  <a:close/>
                </a:path>
              </a:pathLst>
            </a:custGeom>
            <a:solidFill>
              <a:srgbClr val="4D4D4D"/>
            </a:solidFill>
            <a:ln w="0">
              <a:solidFill>
                <a:srgbClr val="4D4D4D"/>
              </a:solidFill>
              <a:round/>
              <a:headEnd/>
              <a:tailEnd/>
            </a:ln>
          </p:spPr>
          <p:txBody>
            <a:bodyPr/>
            <a:lstStyle/>
            <a:p>
              <a:endParaRPr lang="es-ES">
                <a:solidFill>
                  <a:prstClr val="black"/>
                </a:solidFill>
                <a:latin typeface="Calibri" panose="020F0502020204030204"/>
              </a:endParaRPr>
            </a:p>
          </p:txBody>
        </p:sp>
        <p:sp>
          <p:nvSpPr>
            <p:cNvPr id="21" name="Freeform 3139">
              <a:extLst>
                <a:ext uri="{FF2B5EF4-FFF2-40B4-BE49-F238E27FC236}">
                  <a16:creationId xmlns:a16="http://schemas.microsoft.com/office/drawing/2014/main" id="{2ACA92E4-372B-44E4-B10B-308D9071DAA6}"/>
                </a:ext>
              </a:extLst>
            </p:cNvPr>
            <p:cNvSpPr>
              <a:spLocks/>
            </p:cNvSpPr>
            <p:nvPr/>
          </p:nvSpPr>
          <p:spPr bwMode="auto">
            <a:xfrm>
              <a:off x="11474538" y="2110084"/>
              <a:ext cx="51184" cy="53565"/>
            </a:xfrm>
            <a:custGeom>
              <a:avLst/>
              <a:gdLst>
                <a:gd name="T0" fmla="*/ 2147483646 w 43"/>
                <a:gd name="T1" fmla="*/ 0 h 45"/>
                <a:gd name="T2" fmla="*/ 2147483646 w 43"/>
                <a:gd name="T3" fmla="*/ 0 h 45"/>
                <a:gd name="T4" fmla="*/ 2147483646 w 43"/>
                <a:gd name="T5" fmla="*/ 2147483646 h 45"/>
                <a:gd name="T6" fmla="*/ 2147483646 w 43"/>
                <a:gd name="T7" fmla="*/ 2147483646 h 45"/>
                <a:gd name="T8" fmla="*/ 2147483646 w 43"/>
                <a:gd name="T9" fmla="*/ 2147483646 h 45"/>
                <a:gd name="T10" fmla="*/ 2147483646 w 43"/>
                <a:gd name="T11" fmla="*/ 2147483646 h 45"/>
                <a:gd name="T12" fmla="*/ 2147483646 w 43"/>
                <a:gd name="T13" fmla="*/ 2147483646 h 45"/>
                <a:gd name="T14" fmla="*/ 2147483646 w 43"/>
                <a:gd name="T15" fmla="*/ 2147483646 h 45"/>
                <a:gd name="T16" fmla="*/ 2147483646 w 43"/>
                <a:gd name="T17" fmla="*/ 2147483646 h 45"/>
                <a:gd name="T18" fmla="*/ 0 w 43"/>
                <a:gd name="T19" fmla="*/ 2147483646 h 45"/>
                <a:gd name="T20" fmla="*/ 0 w 43"/>
                <a:gd name="T21" fmla="*/ 2147483646 h 45"/>
                <a:gd name="T22" fmla="*/ 2147483646 w 43"/>
                <a:gd name="T23" fmla="*/ 2147483646 h 45"/>
                <a:gd name="T24" fmla="*/ 2147483646 w 43"/>
                <a:gd name="T25" fmla="*/ 0 h 4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45"/>
                <a:gd name="T41" fmla="*/ 43 w 43"/>
                <a:gd name="T42" fmla="*/ 45 h 4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45">
                  <a:moveTo>
                    <a:pt x="15" y="0"/>
                  </a:moveTo>
                  <a:lnTo>
                    <a:pt x="27" y="0"/>
                  </a:lnTo>
                  <a:lnTo>
                    <a:pt x="38" y="7"/>
                  </a:lnTo>
                  <a:lnTo>
                    <a:pt x="43" y="17"/>
                  </a:lnTo>
                  <a:lnTo>
                    <a:pt x="43" y="29"/>
                  </a:lnTo>
                  <a:lnTo>
                    <a:pt x="38" y="38"/>
                  </a:lnTo>
                  <a:lnTo>
                    <a:pt x="27" y="45"/>
                  </a:lnTo>
                  <a:lnTo>
                    <a:pt x="15" y="43"/>
                  </a:lnTo>
                  <a:lnTo>
                    <a:pt x="5" y="38"/>
                  </a:lnTo>
                  <a:lnTo>
                    <a:pt x="0" y="27"/>
                  </a:lnTo>
                  <a:lnTo>
                    <a:pt x="0" y="16"/>
                  </a:lnTo>
                  <a:lnTo>
                    <a:pt x="6" y="7"/>
                  </a:lnTo>
                  <a:lnTo>
                    <a:pt x="15" y="0"/>
                  </a:lnTo>
                  <a:close/>
                </a:path>
              </a:pathLst>
            </a:custGeom>
            <a:solidFill>
              <a:srgbClr val="333333"/>
            </a:solidFill>
            <a:ln w="0">
              <a:solidFill>
                <a:srgbClr val="333333"/>
              </a:solidFill>
              <a:round/>
              <a:headEnd/>
              <a:tailEnd/>
            </a:ln>
          </p:spPr>
          <p:txBody>
            <a:bodyPr/>
            <a:lstStyle/>
            <a:p>
              <a:endParaRPr lang="es-ES">
                <a:solidFill>
                  <a:prstClr val="black"/>
                </a:solidFill>
                <a:latin typeface="Calibri" panose="020F0502020204030204"/>
              </a:endParaRPr>
            </a:p>
          </p:txBody>
        </p:sp>
        <p:sp>
          <p:nvSpPr>
            <p:cNvPr id="22" name="Freeform 3140">
              <a:extLst>
                <a:ext uri="{FF2B5EF4-FFF2-40B4-BE49-F238E27FC236}">
                  <a16:creationId xmlns:a16="http://schemas.microsoft.com/office/drawing/2014/main" id="{340EB079-67B4-41CC-8EDD-D63167FAEF52}"/>
                </a:ext>
              </a:extLst>
            </p:cNvPr>
            <p:cNvSpPr>
              <a:spLocks/>
            </p:cNvSpPr>
            <p:nvPr/>
          </p:nvSpPr>
          <p:spPr bwMode="auto">
            <a:xfrm>
              <a:off x="11260281" y="2138652"/>
              <a:ext cx="144029" cy="36900"/>
            </a:xfrm>
            <a:custGeom>
              <a:avLst/>
              <a:gdLst>
                <a:gd name="T0" fmla="*/ 2147483646 w 121"/>
                <a:gd name="T1" fmla="*/ 0 h 31"/>
                <a:gd name="T2" fmla="*/ 2147483646 w 121"/>
                <a:gd name="T3" fmla="*/ 0 h 31"/>
                <a:gd name="T4" fmla="*/ 0 w 121"/>
                <a:gd name="T5" fmla="*/ 2147483646 h 31"/>
                <a:gd name="T6" fmla="*/ 2147483646 w 121"/>
                <a:gd name="T7" fmla="*/ 0 h 31"/>
                <a:gd name="T8" fmla="*/ 0 60000 65536"/>
                <a:gd name="T9" fmla="*/ 0 60000 65536"/>
                <a:gd name="T10" fmla="*/ 0 60000 65536"/>
                <a:gd name="T11" fmla="*/ 0 60000 65536"/>
                <a:gd name="T12" fmla="*/ 0 w 121"/>
                <a:gd name="T13" fmla="*/ 0 h 31"/>
                <a:gd name="T14" fmla="*/ 121 w 121"/>
                <a:gd name="T15" fmla="*/ 31 h 31"/>
              </a:gdLst>
              <a:ahLst/>
              <a:cxnLst>
                <a:cxn ang="T8">
                  <a:pos x="T0" y="T1"/>
                </a:cxn>
                <a:cxn ang="T9">
                  <a:pos x="T2" y="T3"/>
                </a:cxn>
                <a:cxn ang="T10">
                  <a:pos x="T4" y="T5"/>
                </a:cxn>
                <a:cxn ang="T11">
                  <a:pos x="T6" y="T7"/>
                </a:cxn>
              </a:cxnLst>
              <a:rect l="T12" t="T13" r="T14" b="T15"/>
              <a:pathLst>
                <a:path w="121" h="31">
                  <a:moveTo>
                    <a:pt x="121" y="0"/>
                  </a:moveTo>
                  <a:lnTo>
                    <a:pt x="121" y="0"/>
                  </a:lnTo>
                  <a:lnTo>
                    <a:pt x="0" y="31"/>
                  </a:lnTo>
                  <a:lnTo>
                    <a:pt x="121" y="0"/>
                  </a:lnTo>
                  <a:close/>
                </a:path>
              </a:pathLst>
            </a:custGeom>
            <a:solidFill>
              <a:srgbClr val="F5F5F5"/>
            </a:solidFill>
            <a:ln w="0">
              <a:solidFill>
                <a:srgbClr val="F5F5F5"/>
              </a:solidFill>
              <a:round/>
              <a:headEnd/>
              <a:tailEnd/>
            </a:ln>
          </p:spPr>
          <p:txBody>
            <a:bodyPr/>
            <a:lstStyle/>
            <a:p>
              <a:endParaRPr lang="es-ES">
                <a:solidFill>
                  <a:prstClr val="black"/>
                </a:solidFill>
                <a:latin typeface="Calibri" panose="020F0502020204030204"/>
              </a:endParaRPr>
            </a:p>
          </p:txBody>
        </p:sp>
        <p:sp>
          <p:nvSpPr>
            <p:cNvPr id="23" name="Freeform 3141">
              <a:extLst>
                <a:ext uri="{FF2B5EF4-FFF2-40B4-BE49-F238E27FC236}">
                  <a16:creationId xmlns:a16="http://schemas.microsoft.com/office/drawing/2014/main" id="{6B531F11-6987-4551-8F99-7290294F8CB4}"/>
                </a:ext>
              </a:extLst>
            </p:cNvPr>
            <p:cNvSpPr>
              <a:spLocks/>
            </p:cNvSpPr>
            <p:nvPr/>
          </p:nvSpPr>
          <p:spPr bwMode="auto">
            <a:xfrm>
              <a:off x="10330643" y="2370764"/>
              <a:ext cx="463034" cy="126174"/>
            </a:xfrm>
            <a:custGeom>
              <a:avLst/>
              <a:gdLst>
                <a:gd name="T0" fmla="*/ 2147483646 w 389"/>
                <a:gd name="T1" fmla="*/ 0 h 106"/>
                <a:gd name="T2" fmla="*/ 2147483646 w 389"/>
                <a:gd name="T3" fmla="*/ 2147483646 h 106"/>
                <a:gd name="T4" fmla="*/ 0 w 389"/>
                <a:gd name="T5" fmla="*/ 2147483646 h 106"/>
                <a:gd name="T6" fmla="*/ 2147483646 w 389"/>
                <a:gd name="T7" fmla="*/ 2147483646 h 106"/>
                <a:gd name="T8" fmla="*/ 2147483646 w 389"/>
                <a:gd name="T9" fmla="*/ 0 h 106"/>
                <a:gd name="T10" fmla="*/ 0 60000 65536"/>
                <a:gd name="T11" fmla="*/ 0 60000 65536"/>
                <a:gd name="T12" fmla="*/ 0 60000 65536"/>
                <a:gd name="T13" fmla="*/ 0 60000 65536"/>
                <a:gd name="T14" fmla="*/ 0 60000 65536"/>
                <a:gd name="T15" fmla="*/ 0 w 389"/>
                <a:gd name="T16" fmla="*/ 0 h 106"/>
                <a:gd name="T17" fmla="*/ 389 w 389"/>
                <a:gd name="T18" fmla="*/ 106 h 106"/>
              </a:gdLst>
              <a:ahLst/>
              <a:cxnLst>
                <a:cxn ang="T10">
                  <a:pos x="T0" y="T1"/>
                </a:cxn>
                <a:cxn ang="T11">
                  <a:pos x="T2" y="T3"/>
                </a:cxn>
                <a:cxn ang="T12">
                  <a:pos x="T4" y="T5"/>
                </a:cxn>
                <a:cxn ang="T13">
                  <a:pos x="T6" y="T7"/>
                </a:cxn>
                <a:cxn ang="T14">
                  <a:pos x="T8" y="T9"/>
                </a:cxn>
              </a:cxnLst>
              <a:rect l="T15" t="T16" r="T17" b="T18"/>
              <a:pathLst>
                <a:path w="389" h="106">
                  <a:moveTo>
                    <a:pt x="387" y="0"/>
                  </a:moveTo>
                  <a:lnTo>
                    <a:pt x="389" y="5"/>
                  </a:lnTo>
                  <a:lnTo>
                    <a:pt x="0" y="106"/>
                  </a:lnTo>
                  <a:lnTo>
                    <a:pt x="389" y="5"/>
                  </a:lnTo>
                  <a:lnTo>
                    <a:pt x="387" y="0"/>
                  </a:lnTo>
                  <a:close/>
                </a:path>
              </a:pathLst>
            </a:custGeom>
            <a:solidFill>
              <a:srgbClr val="DA994F"/>
            </a:solidFill>
            <a:ln w="0">
              <a:solidFill>
                <a:srgbClr val="DA994F"/>
              </a:solidFill>
              <a:round/>
              <a:headEnd/>
              <a:tailEnd/>
            </a:ln>
          </p:spPr>
          <p:txBody>
            <a:bodyPr/>
            <a:lstStyle/>
            <a:p>
              <a:endParaRPr lang="es-ES">
                <a:solidFill>
                  <a:prstClr val="black"/>
                </a:solidFill>
                <a:latin typeface="Calibri" panose="020F0502020204030204"/>
              </a:endParaRPr>
            </a:p>
          </p:txBody>
        </p:sp>
        <p:sp>
          <p:nvSpPr>
            <p:cNvPr id="24" name="Freeform 3142">
              <a:extLst>
                <a:ext uri="{FF2B5EF4-FFF2-40B4-BE49-F238E27FC236}">
                  <a16:creationId xmlns:a16="http://schemas.microsoft.com/office/drawing/2014/main" id="{CE1DD16B-4D54-4FFD-B382-D4F3810DCB9A}"/>
                </a:ext>
              </a:extLst>
            </p:cNvPr>
            <p:cNvSpPr>
              <a:spLocks/>
            </p:cNvSpPr>
            <p:nvPr/>
          </p:nvSpPr>
          <p:spPr bwMode="auto">
            <a:xfrm>
              <a:off x="11260281" y="2138652"/>
              <a:ext cx="322576" cy="254728"/>
            </a:xfrm>
            <a:custGeom>
              <a:avLst/>
              <a:gdLst>
                <a:gd name="T0" fmla="*/ 2147483646 w 271"/>
                <a:gd name="T1" fmla="*/ 0 h 214"/>
                <a:gd name="T2" fmla="*/ 2147483646 w 271"/>
                <a:gd name="T3" fmla="*/ 2147483646 h 214"/>
                <a:gd name="T4" fmla="*/ 2147483646 w 271"/>
                <a:gd name="T5" fmla="*/ 2147483646 h 214"/>
                <a:gd name="T6" fmla="*/ 2147483646 w 271"/>
                <a:gd name="T7" fmla="*/ 2147483646 h 214"/>
                <a:gd name="T8" fmla="*/ 2147483646 w 271"/>
                <a:gd name="T9" fmla="*/ 2147483646 h 214"/>
                <a:gd name="T10" fmla="*/ 2147483646 w 271"/>
                <a:gd name="T11" fmla="*/ 2147483646 h 214"/>
                <a:gd name="T12" fmla="*/ 2147483646 w 271"/>
                <a:gd name="T13" fmla="*/ 2147483646 h 214"/>
                <a:gd name="T14" fmla="*/ 2147483646 w 271"/>
                <a:gd name="T15" fmla="*/ 2147483646 h 214"/>
                <a:gd name="T16" fmla="*/ 2147483646 w 271"/>
                <a:gd name="T17" fmla="*/ 2147483646 h 214"/>
                <a:gd name="T18" fmla="*/ 2147483646 w 271"/>
                <a:gd name="T19" fmla="*/ 2147483646 h 214"/>
                <a:gd name="T20" fmla="*/ 2147483646 w 271"/>
                <a:gd name="T21" fmla="*/ 2147483646 h 214"/>
                <a:gd name="T22" fmla="*/ 0 w 271"/>
                <a:gd name="T23" fmla="*/ 2147483646 h 214"/>
                <a:gd name="T24" fmla="*/ 2147483646 w 271"/>
                <a:gd name="T25" fmla="*/ 0 h 21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1"/>
                <a:gd name="T40" fmla="*/ 0 h 214"/>
                <a:gd name="T41" fmla="*/ 271 w 271"/>
                <a:gd name="T42" fmla="*/ 214 h 21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1" h="214">
                  <a:moveTo>
                    <a:pt x="121" y="0"/>
                  </a:moveTo>
                  <a:lnTo>
                    <a:pt x="137" y="64"/>
                  </a:lnTo>
                  <a:lnTo>
                    <a:pt x="271" y="58"/>
                  </a:lnTo>
                  <a:lnTo>
                    <a:pt x="150" y="112"/>
                  </a:lnTo>
                  <a:lnTo>
                    <a:pt x="169" y="191"/>
                  </a:lnTo>
                  <a:lnTo>
                    <a:pt x="76" y="214"/>
                  </a:lnTo>
                  <a:lnTo>
                    <a:pt x="51" y="117"/>
                  </a:lnTo>
                  <a:lnTo>
                    <a:pt x="48" y="104"/>
                  </a:lnTo>
                  <a:lnTo>
                    <a:pt x="41" y="89"/>
                  </a:lnTo>
                  <a:lnTo>
                    <a:pt x="31" y="70"/>
                  </a:lnTo>
                  <a:lnTo>
                    <a:pt x="17" y="51"/>
                  </a:lnTo>
                  <a:lnTo>
                    <a:pt x="0" y="31"/>
                  </a:lnTo>
                  <a:lnTo>
                    <a:pt x="121" y="0"/>
                  </a:lnTo>
                  <a:close/>
                </a:path>
              </a:pathLst>
            </a:custGeom>
            <a:solidFill>
              <a:srgbClr val="E2B999"/>
            </a:solidFill>
            <a:ln w="0">
              <a:solidFill>
                <a:srgbClr val="E2B999"/>
              </a:solidFill>
              <a:round/>
              <a:headEnd/>
              <a:tailEnd/>
            </a:ln>
          </p:spPr>
          <p:txBody>
            <a:bodyPr/>
            <a:lstStyle/>
            <a:p>
              <a:endParaRPr lang="es-ES">
                <a:solidFill>
                  <a:prstClr val="black"/>
                </a:solidFill>
                <a:latin typeface="Calibri" panose="020F0502020204030204"/>
              </a:endParaRPr>
            </a:p>
          </p:txBody>
        </p:sp>
        <p:sp>
          <p:nvSpPr>
            <p:cNvPr id="25" name="Freeform 3143">
              <a:extLst>
                <a:ext uri="{FF2B5EF4-FFF2-40B4-BE49-F238E27FC236}">
                  <a16:creationId xmlns:a16="http://schemas.microsoft.com/office/drawing/2014/main" id="{6ACB8581-756F-4117-B5DB-01D5E1E6702F}"/>
                </a:ext>
              </a:extLst>
            </p:cNvPr>
            <p:cNvSpPr>
              <a:spLocks/>
            </p:cNvSpPr>
            <p:nvPr/>
          </p:nvSpPr>
          <p:spPr bwMode="auto">
            <a:xfrm>
              <a:off x="10790106" y="2118417"/>
              <a:ext cx="560640" cy="365428"/>
            </a:xfrm>
            <a:custGeom>
              <a:avLst/>
              <a:gdLst>
                <a:gd name="T0" fmla="*/ 2147483646 w 471"/>
                <a:gd name="T1" fmla="*/ 0 h 307"/>
                <a:gd name="T2" fmla="*/ 2147483646 w 471"/>
                <a:gd name="T3" fmla="*/ 2147483646 h 307"/>
                <a:gd name="T4" fmla="*/ 2147483646 w 471"/>
                <a:gd name="T5" fmla="*/ 2147483646 h 307"/>
                <a:gd name="T6" fmla="*/ 2147483646 w 471"/>
                <a:gd name="T7" fmla="*/ 2147483646 h 307"/>
                <a:gd name="T8" fmla="*/ 2147483646 w 471"/>
                <a:gd name="T9" fmla="*/ 2147483646 h 307"/>
                <a:gd name="T10" fmla="*/ 2147483646 w 471"/>
                <a:gd name="T11" fmla="*/ 2147483646 h 307"/>
                <a:gd name="T12" fmla="*/ 2147483646 w 471"/>
                <a:gd name="T13" fmla="*/ 2147483646 h 307"/>
                <a:gd name="T14" fmla="*/ 2147483646 w 471"/>
                <a:gd name="T15" fmla="*/ 2147483646 h 307"/>
                <a:gd name="T16" fmla="*/ 2147483646 w 471"/>
                <a:gd name="T17" fmla="*/ 2147483646 h 307"/>
                <a:gd name="T18" fmla="*/ 2147483646 w 471"/>
                <a:gd name="T19" fmla="*/ 2147483646 h 307"/>
                <a:gd name="T20" fmla="*/ 2147483646 w 471"/>
                <a:gd name="T21" fmla="*/ 2147483646 h 307"/>
                <a:gd name="T22" fmla="*/ 2147483646 w 471"/>
                <a:gd name="T23" fmla="*/ 2147483646 h 307"/>
                <a:gd name="T24" fmla="*/ 2147483646 w 471"/>
                <a:gd name="T25" fmla="*/ 2147483646 h 307"/>
                <a:gd name="T26" fmla="*/ 2147483646 w 471"/>
                <a:gd name="T27" fmla="*/ 2147483646 h 307"/>
                <a:gd name="T28" fmla="*/ 2147483646 w 471"/>
                <a:gd name="T29" fmla="*/ 2147483646 h 307"/>
                <a:gd name="T30" fmla="*/ 2147483646 w 471"/>
                <a:gd name="T31" fmla="*/ 2147483646 h 307"/>
                <a:gd name="T32" fmla="*/ 2147483646 w 471"/>
                <a:gd name="T33" fmla="*/ 2147483646 h 307"/>
                <a:gd name="T34" fmla="*/ 2147483646 w 471"/>
                <a:gd name="T35" fmla="*/ 2147483646 h 307"/>
                <a:gd name="T36" fmla="*/ 2147483646 w 471"/>
                <a:gd name="T37" fmla="*/ 2147483646 h 307"/>
                <a:gd name="T38" fmla="*/ 2147483646 w 471"/>
                <a:gd name="T39" fmla="*/ 2147483646 h 307"/>
                <a:gd name="T40" fmla="*/ 2147483646 w 471"/>
                <a:gd name="T41" fmla="*/ 2147483646 h 307"/>
                <a:gd name="T42" fmla="*/ 2147483646 w 471"/>
                <a:gd name="T43" fmla="*/ 2147483646 h 307"/>
                <a:gd name="T44" fmla="*/ 2147483646 w 471"/>
                <a:gd name="T45" fmla="*/ 2147483646 h 307"/>
                <a:gd name="T46" fmla="*/ 2147483646 w 471"/>
                <a:gd name="T47" fmla="*/ 2147483646 h 307"/>
                <a:gd name="T48" fmla="*/ 2147483646 w 471"/>
                <a:gd name="T49" fmla="*/ 2147483646 h 307"/>
                <a:gd name="T50" fmla="*/ 2147483646 w 471"/>
                <a:gd name="T51" fmla="*/ 2147483646 h 307"/>
                <a:gd name="T52" fmla="*/ 2147483646 w 471"/>
                <a:gd name="T53" fmla="*/ 2147483646 h 307"/>
                <a:gd name="T54" fmla="*/ 0 w 471"/>
                <a:gd name="T55" fmla="*/ 2147483646 h 307"/>
                <a:gd name="T56" fmla="*/ 2147483646 w 471"/>
                <a:gd name="T57" fmla="*/ 2147483646 h 307"/>
                <a:gd name="T58" fmla="*/ 2147483646 w 471"/>
                <a:gd name="T59" fmla="*/ 2147483646 h 307"/>
                <a:gd name="T60" fmla="*/ 2147483646 w 471"/>
                <a:gd name="T61" fmla="*/ 2147483646 h 307"/>
                <a:gd name="T62" fmla="*/ 2147483646 w 471"/>
                <a:gd name="T63" fmla="*/ 2147483646 h 307"/>
                <a:gd name="T64" fmla="*/ 2147483646 w 471"/>
                <a:gd name="T65" fmla="*/ 2147483646 h 307"/>
                <a:gd name="T66" fmla="*/ 2147483646 w 471"/>
                <a:gd name="T67" fmla="*/ 2147483646 h 307"/>
                <a:gd name="T68" fmla="*/ 2147483646 w 471"/>
                <a:gd name="T69" fmla="*/ 2147483646 h 307"/>
                <a:gd name="T70" fmla="*/ 2147483646 w 471"/>
                <a:gd name="T71" fmla="*/ 2147483646 h 307"/>
                <a:gd name="T72" fmla="*/ 2147483646 w 471"/>
                <a:gd name="T73" fmla="*/ 2147483646 h 307"/>
                <a:gd name="T74" fmla="*/ 2147483646 w 471"/>
                <a:gd name="T75" fmla="*/ 2147483646 h 307"/>
                <a:gd name="T76" fmla="*/ 2147483646 w 471"/>
                <a:gd name="T77" fmla="*/ 2147483646 h 307"/>
                <a:gd name="T78" fmla="*/ 2147483646 w 471"/>
                <a:gd name="T79" fmla="*/ 2147483646 h 307"/>
                <a:gd name="T80" fmla="*/ 2147483646 w 471"/>
                <a:gd name="T81" fmla="*/ 2147483646 h 307"/>
                <a:gd name="T82" fmla="*/ 2147483646 w 471"/>
                <a:gd name="T83" fmla="*/ 2147483646 h 307"/>
                <a:gd name="T84" fmla="*/ 2147483646 w 471"/>
                <a:gd name="T85" fmla="*/ 0 h 307"/>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71"/>
                <a:gd name="T130" fmla="*/ 0 h 307"/>
                <a:gd name="T131" fmla="*/ 471 w 471"/>
                <a:gd name="T132" fmla="*/ 307 h 307"/>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71" h="307">
                  <a:moveTo>
                    <a:pt x="279" y="0"/>
                  </a:moveTo>
                  <a:lnTo>
                    <a:pt x="309" y="2"/>
                  </a:lnTo>
                  <a:lnTo>
                    <a:pt x="335" y="10"/>
                  </a:lnTo>
                  <a:lnTo>
                    <a:pt x="357" y="19"/>
                  </a:lnTo>
                  <a:lnTo>
                    <a:pt x="378" y="32"/>
                  </a:lnTo>
                  <a:lnTo>
                    <a:pt x="395" y="48"/>
                  </a:lnTo>
                  <a:lnTo>
                    <a:pt x="412" y="68"/>
                  </a:lnTo>
                  <a:lnTo>
                    <a:pt x="426" y="87"/>
                  </a:lnTo>
                  <a:lnTo>
                    <a:pt x="436" y="106"/>
                  </a:lnTo>
                  <a:lnTo>
                    <a:pt x="443" y="121"/>
                  </a:lnTo>
                  <a:lnTo>
                    <a:pt x="446" y="134"/>
                  </a:lnTo>
                  <a:lnTo>
                    <a:pt x="471" y="231"/>
                  </a:lnTo>
                  <a:lnTo>
                    <a:pt x="179" y="307"/>
                  </a:lnTo>
                  <a:lnTo>
                    <a:pt x="191" y="294"/>
                  </a:lnTo>
                  <a:lnTo>
                    <a:pt x="198" y="280"/>
                  </a:lnTo>
                  <a:lnTo>
                    <a:pt x="202" y="263"/>
                  </a:lnTo>
                  <a:lnTo>
                    <a:pt x="199" y="246"/>
                  </a:lnTo>
                  <a:lnTo>
                    <a:pt x="195" y="229"/>
                  </a:lnTo>
                  <a:lnTo>
                    <a:pt x="187" y="210"/>
                  </a:lnTo>
                  <a:lnTo>
                    <a:pt x="174" y="196"/>
                  </a:lnTo>
                  <a:lnTo>
                    <a:pt x="157" y="187"/>
                  </a:lnTo>
                  <a:lnTo>
                    <a:pt x="138" y="184"/>
                  </a:lnTo>
                  <a:lnTo>
                    <a:pt x="131" y="184"/>
                  </a:lnTo>
                  <a:lnTo>
                    <a:pt x="123" y="185"/>
                  </a:lnTo>
                  <a:lnTo>
                    <a:pt x="3" y="217"/>
                  </a:lnTo>
                  <a:lnTo>
                    <a:pt x="1" y="212"/>
                  </a:lnTo>
                  <a:lnTo>
                    <a:pt x="0" y="205"/>
                  </a:lnTo>
                  <a:lnTo>
                    <a:pt x="208" y="151"/>
                  </a:lnTo>
                  <a:lnTo>
                    <a:pt x="225" y="144"/>
                  </a:lnTo>
                  <a:lnTo>
                    <a:pt x="240" y="132"/>
                  </a:lnTo>
                  <a:lnTo>
                    <a:pt x="249" y="116"/>
                  </a:lnTo>
                  <a:lnTo>
                    <a:pt x="253" y="98"/>
                  </a:lnTo>
                  <a:lnTo>
                    <a:pt x="250" y="79"/>
                  </a:lnTo>
                  <a:lnTo>
                    <a:pt x="246" y="62"/>
                  </a:lnTo>
                  <a:lnTo>
                    <a:pt x="238" y="44"/>
                  </a:lnTo>
                  <a:lnTo>
                    <a:pt x="225" y="30"/>
                  </a:lnTo>
                  <a:lnTo>
                    <a:pt x="208" y="20"/>
                  </a:lnTo>
                  <a:lnTo>
                    <a:pt x="189" y="18"/>
                  </a:lnTo>
                  <a:lnTo>
                    <a:pt x="183" y="18"/>
                  </a:lnTo>
                  <a:lnTo>
                    <a:pt x="223" y="7"/>
                  </a:lnTo>
                  <a:lnTo>
                    <a:pt x="251" y="2"/>
                  </a:lnTo>
                  <a:lnTo>
                    <a:pt x="279" y="0"/>
                  </a:lnTo>
                  <a:close/>
                </a:path>
              </a:pathLst>
            </a:custGeom>
            <a:solidFill>
              <a:srgbClr val="EDC9AD"/>
            </a:solidFill>
            <a:ln w="0">
              <a:solidFill>
                <a:srgbClr val="EDC9AD"/>
              </a:solidFill>
              <a:round/>
              <a:headEnd/>
              <a:tailEnd/>
            </a:ln>
          </p:spPr>
          <p:txBody>
            <a:bodyPr/>
            <a:lstStyle/>
            <a:p>
              <a:endParaRPr lang="es-ES">
                <a:solidFill>
                  <a:prstClr val="black"/>
                </a:solidFill>
                <a:latin typeface="Calibri" panose="020F0502020204030204"/>
              </a:endParaRPr>
            </a:p>
          </p:txBody>
        </p:sp>
        <p:sp>
          <p:nvSpPr>
            <p:cNvPr id="26" name="Freeform 3144">
              <a:extLst>
                <a:ext uri="{FF2B5EF4-FFF2-40B4-BE49-F238E27FC236}">
                  <a16:creationId xmlns:a16="http://schemas.microsoft.com/office/drawing/2014/main" id="{0C4DC878-C46D-4D91-8275-07BF3E785AA7}"/>
                </a:ext>
              </a:extLst>
            </p:cNvPr>
            <p:cNvSpPr>
              <a:spLocks noEditPoints="1"/>
            </p:cNvSpPr>
            <p:nvPr/>
          </p:nvSpPr>
          <p:spPr bwMode="auto">
            <a:xfrm>
              <a:off x="10277079" y="2337435"/>
              <a:ext cx="753471" cy="316624"/>
            </a:xfrm>
            <a:custGeom>
              <a:avLst/>
              <a:gdLst>
                <a:gd name="T0" fmla="*/ 2147483646 w 633"/>
                <a:gd name="T1" fmla="*/ 2147483646 h 266"/>
                <a:gd name="T2" fmla="*/ 2147483646 w 633"/>
                <a:gd name="T3" fmla="*/ 2147483646 h 266"/>
                <a:gd name="T4" fmla="*/ 2147483646 w 633"/>
                <a:gd name="T5" fmla="*/ 2147483646 h 266"/>
                <a:gd name="T6" fmla="*/ 2147483646 w 633"/>
                <a:gd name="T7" fmla="*/ 2147483646 h 266"/>
                <a:gd name="T8" fmla="*/ 2147483646 w 633"/>
                <a:gd name="T9" fmla="*/ 2147483646 h 266"/>
                <a:gd name="T10" fmla="*/ 2147483646 w 633"/>
                <a:gd name="T11" fmla="*/ 2147483646 h 266"/>
                <a:gd name="T12" fmla="*/ 2147483646 w 633"/>
                <a:gd name="T13" fmla="*/ 2147483646 h 266"/>
                <a:gd name="T14" fmla="*/ 2147483646 w 633"/>
                <a:gd name="T15" fmla="*/ 2147483646 h 266"/>
                <a:gd name="T16" fmla="*/ 2147483646 w 633"/>
                <a:gd name="T17" fmla="*/ 2147483646 h 266"/>
                <a:gd name="T18" fmla="*/ 2147483646 w 633"/>
                <a:gd name="T19" fmla="*/ 2147483646 h 266"/>
                <a:gd name="T20" fmla="*/ 2147483646 w 633"/>
                <a:gd name="T21" fmla="*/ 2147483646 h 266"/>
                <a:gd name="T22" fmla="*/ 2147483646 w 633"/>
                <a:gd name="T23" fmla="*/ 2147483646 h 266"/>
                <a:gd name="T24" fmla="*/ 2147483646 w 633"/>
                <a:gd name="T25" fmla="*/ 2147483646 h 266"/>
                <a:gd name="T26" fmla="*/ 2147483646 w 633"/>
                <a:gd name="T27" fmla="*/ 2147483646 h 266"/>
                <a:gd name="T28" fmla="*/ 2147483646 w 633"/>
                <a:gd name="T29" fmla="*/ 2147483646 h 266"/>
                <a:gd name="T30" fmla="*/ 2147483646 w 633"/>
                <a:gd name="T31" fmla="*/ 2147483646 h 266"/>
                <a:gd name="T32" fmla="*/ 2147483646 w 633"/>
                <a:gd name="T33" fmla="*/ 2147483646 h 266"/>
                <a:gd name="T34" fmla="*/ 2147483646 w 633"/>
                <a:gd name="T35" fmla="*/ 2147483646 h 266"/>
                <a:gd name="T36" fmla="*/ 2147483646 w 633"/>
                <a:gd name="T37" fmla="*/ 2147483646 h 266"/>
                <a:gd name="T38" fmla="*/ 2147483646 w 633"/>
                <a:gd name="T39" fmla="*/ 2147483646 h 266"/>
                <a:gd name="T40" fmla="*/ 2147483646 w 633"/>
                <a:gd name="T41" fmla="*/ 2147483646 h 266"/>
                <a:gd name="T42" fmla="*/ 2147483646 w 633"/>
                <a:gd name="T43" fmla="*/ 2147483646 h 266"/>
                <a:gd name="T44" fmla="*/ 2147483646 w 633"/>
                <a:gd name="T45" fmla="*/ 2147483646 h 266"/>
                <a:gd name="T46" fmla="*/ 2147483646 w 633"/>
                <a:gd name="T47" fmla="*/ 2147483646 h 266"/>
                <a:gd name="T48" fmla="*/ 2147483646 w 633"/>
                <a:gd name="T49" fmla="*/ 2147483646 h 266"/>
                <a:gd name="T50" fmla="*/ 2147483646 w 633"/>
                <a:gd name="T51" fmla="*/ 0 h 266"/>
                <a:gd name="T52" fmla="*/ 2147483646 w 633"/>
                <a:gd name="T53" fmla="*/ 2147483646 h 266"/>
                <a:gd name="T54" fmla="*/ 2147483646 w 633"/>
                <a:gd name="T55" fmla="*/ 2147483646 h 266"/>
                <a:gd name="T56" fmla="*/ 2147483646 w 633"/>
                <a:gd name="T57" fmla="*/ 2147483646 h 266"/>
                <a:gd name="T58" fmla="*/ 2147483646 w 633"/>
                <a:gd name="T59" fmla="*/ 2147483646 h 266"/>
                <a:gd name="T60" fmla="*/ 2147483646 w 633"/>
                <a:gd name="T61" fmla="*/ 2147483646 h 266"/>
                <a:gd name="T62" fmla="*/ 2147483646 w 633"/>
                <a:gd name="T63" fmla="*/ 2147483646 h 266"/>
                <a:gd name="T64" fmla="*/ 2147483646 w 633"/>
                <a:gd name="T65" fmla="*/ 2147483646 h 266"/>
                <a:gd name="T66" fmla="*/ 2147483646 w 633"/>
                <a:gd name="T67" fmla="*/ 2147483646 h 266"/>
                <a:gd name="T68" fmla="*/ 2147483646 w 633"/>
                <a:gd name="T69" fmla="*/ 2147483646 h 266"/>
                <a:gd name="T70" fmla="*/ 2147483646 w 633"/>
                <a:gd name="T71" fmla="*/ 2147483646 h 266"/>
                <a:gd name="T72" fmla="*/ 2147483646 w 633"/>
                <a:gd name="T73" fmla="*/ 2147483646 h 266"/>
                <a:gd name="T74" fmla="*/ 2147483646 w 633"/>
                <a:gd name="T75" fmla="*/ 2147483646 h 266"/>
                <a:gd name="T76" fmla="*/ 2147483646 w 633"/>
                <a:gd name="T77" fmla="*/ 2147483646 h 266"/>
                <a:gd name="T78" fmla="*/ 2147483646 w 633"/>
                <a:gd name="T79" fmla="*/ 2147483646 h 266"/>
                <a:gd name="T80" fmla="*/ 2147483646 w 633"/>
                <a:gd name="T81" fmla="*/ 2147483646 h 266"/>
                <a:gd name="T82" fmla="*/ 2147483646 w 633"/>
                <a:gd name="T83" fmla="*/ 2147483646 h 266"/>
                <a:gd name="T84" fmla="*/ 2147483646 w 633"/>
                <a:gd name="T85" fmla="*/ 2147483646 h 266"/>
                <a:gd name="T86" fmla="*/ 0 w 633"/>
                <a:gd name="T87" fmla="*/ 2147483646 h 266"/>
                <a:gd name="T88" fmla="*/ 0 w 633"/>
                <a:gd name="T89" fmla="*/ 2147483646 h 266"/>
                <a:gd name="T90" fmla="*/ 2147483646 w 633"/>
                <a:gd name="T91" fmla="*/ 2147483646 h 266"/>
                <a:gd name="T92" fmla="*/ 2147483646 w 633"/>
                <a:gd name="T93" fmla="*/ 2147483646 h 266"/>
                <a:gd name="T94" fmla="*/ 2147483646 w 633"/>
                <a:gd name="T95" fmla="*/ 2147483646 h 266"/>
                <a:gd name="T96" fmla="*/ 2147483646 w 633"/>
                <a:gd name="T97" fmla="*/ 2147483646 h 266"/>
                <a:gd name="T98" fmla="*/ 2147483646 w 633"/>
                <a:gd name="T99" fmla="*/ 2147483646 h 266"/>
                <a:gd name="T100" fmla="*/ 2147483646 w 633"/>
                <a:gd name="T101" fmla="*/ 2147483646 h 266"/>
                <a:gd name="T102" fmla="*/ 2147483646 w 633"/>
                <a:gd name="T103" fmla="*/ 0 h 266"/>
                <a:gd name="T104" fmla="*/ 2147483646 w 633"/>
                <a:gd name="T105" fmla="*/ 0 h 26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633"/>
                <a:gd name="T160" fmla="*/ 0 h 266"/>
                <a:gd name="T161" fmla="*/ 633 w 633"/>
                <a:gd name="T162" fmla="*/ 266 h 26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633" h="266">
                  <a:moveTo>
                    <a:pt x="70" y="145"/>
                  </a:moveTo>
                  <a:lnTo>
                    <a:pt x="66" y="147"/>
                  </a:lnTo>
                  <a:lnTo>
                    <a:pt x="61" y="147"/>
                  </a:lnTo>
                  <a:lnTo>
                    <a:pt x="46" y="153"/>
                  </a:lnTo>
                  <a:lnTo>
                    <a:pt x="34" y="164"/>
                  </a:lnTo>
                  <a:lnTo>
                    <a:pt x="27" y="178"/>
                  </a:lnTo>
                  <a:lnTo>
                    <a:pt x="23" y="193"/>
                  </a:lnTo>
                  <a:lnTo>
                    <a:pt x="24" y="210"/>
                  </a:lnTo>
                  <a:lnTo>
                    <a:pt x="32" y="225"/>
                  </a:lnTo>
                  <a:lnTo>
                    <a:pt x="42" y="237"/>
                  </a:lnTo>
                  <a:lnTo>
                    <a:pt x="57" y="245"/>
                  </a:lnTo>
                  <a:lnTo>
                    <a:pt x="74" y="248"/>
                  </a:lnTo>
                  <a:lnTo>
                    <a:pt x="80" y="246"/>
                  </a:lnTo>
                  <a:lnTo>
                    <a:pt x="87" y="245"/>
                  </a:lnTo>
                  <a:lnTo>
                    <a:pt x="97" y="241"/>
                  </a:lnTo>
                  <a:lnTo>
                    <a:pt x="104" y="233"/>
                  </a:lnTo>
                  <a:lnTo>
                    <a:pt x="106" y="225"/>
                  </a:lnTo>
                  <a:lnTo>
                    <a:pt x="106" y="215"/>
                  </a:lnTo>
                  <a:lnTo>
                    <a:pt x="105" y="202"/>
                  </a:lnTo>
                  <a:lnTo>
                    <a:pt x="101" y="189"/>
                  </a:lnTo>
                  <a:lnTo>
                    <a:pt x="99" y="176"/>
                  </a:lnTo>
                  <a:lnTo>
                    <a:pt x="93" y="164"/>
                  </a:lnTo>
                  <a:lnTo>
                    <a:pt x="88" y="155"/>
                  </a:lnTo>
                  <a:lnTo>
                    <a:pt x="80" y="148"/>
                  </a:lnTo>
                  <a:lnTo>
                    <a:pt x="70" y="145"/>
                  </a:lnTo>
                  <a:close/>
                  <a:moveTo>
                    <a:pt x="569" y="0"/>
                  </a:moveTo>
                  <a:lnTo>
                    <a:pt x="588" y="3"/>
                  </a:lnTo>
                  <a:lnTo>
                    <a:pt x="605" y="12"/>
                  </a:lnTo>
                  <a:lnTo>
                    <a:pt x="618" y="26"/>
                  </a:lnTo>
                  <a:lnTo>
                    <a:pt x="626" y="45"/>
                  </a:lnTo>
                  <a:lnTo>
                    <a:pt x="630" y="62"/>
                  </a:lnTo>
                  <a:lnTo>
                    <a:pt x="633" y="79"/>
                  </a:lnTo>
                  <a:lnTo>
                    <a:pt x="629" y="96"/>
                  </a:lnTo>
                  <a:lnTo>
                    <a:pt x="622" y="110"/>
                  </a:lnTo>
                  <a:lnTo>
                    <a:pt x="610" y="123"/>
                  </a:lnTo>
                  <a:lnTo>
                    <a:pt x="54" y="266"/>
                  </a:lnTo>
                  <a:lnTo>
                    <a:pt x="38" y="262"/>
                  </a:lnTo>
                  <a:lnTo>
                    <a:pt x="24" y="251"/>
                  </a:lnTo>
                  <a:lnTo>
                    <a:pt x="13" y="240"/>
                  </a:lnTo>
                  <a:lnTo>
                    <a:pt x="7" y="223"/>
                  </a:lnTo>
                  <a:lnTo>
                    <a:pt x="2" y="206"/>
                  </a:lnTo>
                  <a:lnTo>
                    <a:pt x="0" y="198"/>
                  </a:lnTo>
                  <a:lnTo>
                    <a:pt x="0" y="191"/>
                  </a:lnTo>
                  <a:lnTo>
                    <a:pt x="3" y="172"/>
                  </a:lnTo>
                  <a:lnTo>
                    <a:pt x="12" y="155"/>
                  </a:lnTo>
                  <a:lnTo>
                    <a:pt x="27" y="142"/>
                  </a:lnTo>
                  <a:lnTo>
                    <a:pt x="45" y="134"/>
                  </a:lnTo>
                  <a:lnTo>
                    <a:pt x="434" y="33"/>
                  </a:lnTo>
                  <a:lnTo>
                    <a:pt x="554" y="1"/>
                  </a:lnTo>
                  <a:lnTo>
                    <a:pt x="562" y="0"/>
                  </a:lnTo>
                  <a:lnTo>
                    <a:pt x="569" y="0"/>
                  </a:lnTo>
                  <a:close/>
                </a:path>
              </a:pathLst>
            </a:custGeom>
            <a:solidFill>
              <a:srgbClr val="EDC9AD"/>
            </a:solidFill>
            <a:ln w="0">
              <a:solidFill>
                <a:srgbClr val="EDC9AD"/>
              </a:solidFill>
              <a:round/>
              <a:headEnd/>
              <a:tailEnd/>
            </a:ln>
          </p:spPr>
          <p:txBody>
            <a:bodyPr/>
            <a:lstStyle/>
            <a:p>
              <a:endParaRPr lang="es-ES">
                <a:solidFill>
                  <a:prstClr val="black"/>
                </a:solidFill>
                <a:latin typeface="Calibri" panose="020F0502020204030204"/>
              </a:endParaRPr>
            </a:p>
          </p:txBody>
        </p:sp>
        <p:sp>
          <p:nvSpPr>
            <p:cNvPr id="27" name="Freeform 3145">
              <a:extLst>
                <a:ext uri="{FF2B5EF4-FFF2-40B4-BE49-F238E27FC236}">
                  <a16:creationId xmlns:a16="http://schemas.microsoft.com/office/drawing/2014/main" id="{DCE1E11C-B139-48E7-8F5F-A41F23D0AA78}"/>
                </a:ext>
              </a:extLst>
            </p:cNvPr>
            <p:cNvSpPr>
              <a:spLocks/>
            </p:cNvSpPr>
            <p:nvPr/>
          </p:nvSpPr>
          <p:spPr bwMode="auto">
            <a:xfrm>
              <a:off x="10304456" y="2510031"/>
              <a:ext cx="98797" cy="122603"/>
            </a:xfrm>
            <a:custGeom>
              <a:avLst/>
              <a:gdLst>
                <a:gd name="T0" fmla="*/ 2147483646 w 83"/>
                <a:gd name="T1" fmla="*/ 0 h 103"/>
                <a:gd name="T2" fmla="*/ 2147483646 w 83"/>
                <a:gd name="T3" fmla="*/ 2147483646 h 103"/>
                <a:gd name="T4" fmla="*/ 2147483646 w 83"/>
                <a:gd name="T5" fmla="*/ 2147483646 h 103"/>
                <a:gd name="T6" fmla="*/ 2147483646 w 83"/>
                <a:gd name="T7" fmla="*/ 2147483646 h 103"/>
                <a:gd name="T8" fmla="*/ 2147483646 w 83"/>
                <a:gd name="T9" fmla="*/ 2147483646 h 103"/>
                <a:gd name="T10" fmla="*/ 2147483646 w 83"/>
                <a:gd name="T11" fmla="*/ 2147483646 h 103"/>
                <a:gd name="T12" fmla="*/ 2147483646 w 83"/>
                <a:gd name="T13" fmla="*/ 2147483646 h 103"/>
                <a:gd name="T14" fmla="*/ 2147483646 w 83"/>
                <a:gd name="T15" fmla="*/ 2147483646 h 103"/>
                <a:gd name="T16" fmla="*/ 2147483646 w 83"/>
                <a:gd name="T17" fmla="*/ 2147483646 h 103"/>
                <a:gd name="T18" fmla="*/ 2147483646 w 83"/>
                <a:gd name="T19" fmla="*/ 2147483646 h 103"/>
                <a:gd name="T20" fmla="*/ 2147483646 w 83"/>
                <a:gd name="T21" fmla="*/ 2147483646 h 103"/>
                <a:gd name="T22" fmla="*/ 2147483646 w 83"/>
                <a:gd name="T23" fmla="*/ 2147483646 h 103"/>
                <a:gd name="T24" fmla="*/ 2147483646 w 83"/>
                <a:gd name="T25" fmla="*/ 2147483646 h 103"/>
                <a:gd name="T26" fmla="*/ 2147483646 w 83"/>
                <a:gd name="T27" fmla="*/ 2147483646 h 103"/>
                <a:gd name="T28" fmla="*/ 2147483646 w 83"/>
                <a:gd name="T29" fmla="*/ 2147483646 h 103"/>
                <a:gd name="T30" fmla="*/ 2147483646 w 83"/>
                <a:gd name="T31" fmla="*/ 2147483646 h 103"/>
                <a:gd name="T32" fmla="*/ 2147483646 w 83"/>
                <a:gd name="T33" fmla="*/ 2147483646 h 103"/>
                <a:gd name="T34" fmla="*/ 2147483646 w 83"/>
                <a:gd name="T35" fmla="*/ 2147483646 h 103"/>
                <a:gd name="T36" fmla="*/ 0 w 83"/>
                <a:gd name="T37" fmla="*/ 2147483646 h 103"/>
                <a:gd name="T38" fmla="*/ 2147483646 w 83"/>
                <a:gd name="T39" fmla="*/ 2147483646 h 103"/>
                <a:gd name="T40" fmla="*/ 2147483646 w 83"/>
                <a:gd name="T41" fmla="*/ 2147483646 h 103"/>
                <a:gd name="T42" fmla="*/ 2147483646 w 83"/>
                <a:gd name="T43" fmla="*/ 2147483646 h 103"/>
                <a:gd name="T44" fmla="*/ 2147483646 w 83"/>
                <a:gd name="T45" fmla="*/ 2147483646 h 103"/>
                <a:gd name="T46" fmla="*/ 2147483646 w 83"/>
                <a:gd name="T47" fmla="*/ 2147483646 h 103"/>
                <a:gd name="T48" fmla="*/ 2147483646 w 83"/>
                <a:gd name="T49" fmla="*/ 0 h 10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103"/>
                <a:gd name="T77" fmla="*/ 83 w 83"/>
                <a:gd name="T78" fmla="*/ 103 h 10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103">
                  <a:moveTo>
                    <a:pt x="47" y="0"/>
                  </a:moveTo>
                  <a:lnTo>
                    <a:pt x="57" y="3"/>
                  </a:lnTo>
                  <a:lnTo>
                    <a:pt x="65" y="10"/>
                  </a:lnTo>
                  <a:lnTo>
                    <a:pt x="70" y="19"/>
                  </a:lnTo>
                  <a:lnTo>
                    <a:pt x="76" y="31"/>
                  </a:lnTo>
                  <a:lnTo>
                    <a:pt x="78" y="44"/>
                  </a:lnTo>
                  <a:lnTo>
                    <a:pt x="82" y="57"/>
                  </a:lnTo>
                  <a:lnTo>
                    <a:pt x="83" y="70"/>
                  </a:lnTo>
                  <a:lnTo>
                    <a:pt x="83" y="80"/>
                  </a:lnTo>
                  <a:lnTo>
                    <a:pt x="81" y="88"/>
                  </a:lnTo>
                  <a:lnTo>
                    <a:pt x="74" y="96"/>
                  </a:lnTo>
                  <a:lnTo>
                    <a:pt x="64" y="100"/>
                  </a:lnTo>
                  <a:lnTo>
                    <a:pt x="57" y="101"/>
                  </a:lnTo>
                  <a:lnTo>
                    <a:pt x="51" y="103"/>
                  </a:lnTo>
                  <a:lnTo>
                    <a:pt x="34" y="100"/>
                  </a:lnTo>
                  <a:lnTo>
                    <a:pt x="19" y="92"/>
                  </a:lnTo>
                  <a:lnTo>
                    <a:pt x="9" y="80"/>
                  </a:lnTo>
                  <a:lnTo>
                    <a:pt x="1" y="65"/>
                  </a:lnTo>
                  <a:lnTo>
                    <a:pt x="0" y="48"/>
                  </a:lnTo>
                  <a:lnTo>
                    <a:pt x="4" y="33"/>
                  </a:lnTo>
                  <a:lnTo>
                    <a:pt x="11" y="19"/>
                  </a:lnTo>
                  <a:lnTo>
                    <a:pt x="23" y="8"/>
                  </a:lnTo>
                  <a:lnTo>
                    <a:pt x="38" y="2"/>
                  </a:lnTo>
                  <a:lnTo>
                    <a:pt x="43" y="2"/>
                  </a:lnTo>
                  <a:lnTo>
                    <a:pt x="47" y="0"/>
                  </a:lnTo>
                  <a:close/>
                </a:path>
              </a:pathLst>
            </a:custGeom>
            <a:solidFill>
              <a:srgbClr val="F5E3D5"/>
            </a:solidFill>
            <a:ln w="0">
              <a:solidFill>
                <a:srgbClr val="F5E3D5"/>
              </a:solidFill>
              <a:round/>
              <a:headEnd/>
              <a:tailEnd/>
            </a:ln>
          </p:spPr>
          <p:txBody>
            <a:bodyPr/>
            <a:lstStyle/>
            <a:p>
              <a:endParaRPr lang="es-ES">
                <a:solidFill>
                  <a:prstClr val="black"/>
                </a:solidFill>
                <a:latin typeface="Calibri" panose="020F0502020204030204"/>
              </a:endParaRPr>
            </a:p>
          </p:txBody>
        </p:sp>
        <p:sp>
          <p:nvSpPr>
            <p:cNvPr id="28" name="Freeform 3146">
              <a:extLst>
                <a:ext uri="{FF2B5EF4-FFF2-40B4-BE49-F238E27FC236}">
                  <a16:creationId xmlns:a16="http://schemas.microsoft.com/office/drawing/2014/main" id="{5ED0D7CB-07D2-4931-AB37-E3EF634FBCCF}"/>
                </a:ext>
              </a:extLst>
            </p:cNvPr>
            <p:cNvSpPr>
              <a:spLocks noEditPoints="1"/>
            </p:cNvSpPr>
            <p:nvPr/>
          </p:nvSpPr>
          <p:spPr bwMode="auto">
            <a:xfrm>
              <a:off x="10337785" y="2139842"/>
              <a:ext cx="753471" cy="317815"/>
            </a:xfrm>
            <a:custGeom>
              <a:avLst/>
              <a:gdLst>
                <a:gd name="T0" fmla="*/ 2147483646 w 633"/>
                <a:gd name="T1" fmla="*/ 2147483646 h 267"/>
                <a:gd name="T2" fmla="*/ 2147483646 w 633"/>
                <a:gd name="T3" fmla="*/ 2147483646 h 267"/>
                <a:gd name="T4" fmla="*/ 2147483646 w 633"/>
                <a:gd name="T5" fmla="*/ 2147483646 h 267"/>
                <a:gd name="T6" fmla="*/ 2147483646 w 633"/>
                <a:gd name="T7" fmla="*/ 2147483646 h 267"/>
                <a:gd name="T8" fmla="*/ 2147483646 w 633"/>
                <a:gd name="T9" fmla="*/ 2147483646 h 267"/>
                <a:gd name="T10" fmla="*/ 2147483646 w 633"/>
                <a:gd name="T11" fmla="*/ 2147483646 h 267"/>
                <a:gd name="T12" fmla="*/ 2147483646 w 633"/>
                <a:gd name="T13" fmla="*/ 2147483646 h 267"/>
                <a:gd name="T14" fmla="*/ 2147483646 w 633"/>
                <a:gd name="T15" fmla="*/ 2147483646 h 267"/>
                <a:gd name="T16" fmla="*/ 2147483646 w 633"/>
                <a:gd name="T17" fmla="*/ 2147483646 h 267"/>
                <a:gd name="T18" fmla="*/ 2147483646 w 633"/>
                <a:gd name="T19" fmla="*/ 2147483646 h 267"/>
                <a:gd name="T20" fmla="*/ 2147483646 w 633"/>
                <a:gd name="T21" fmla="*/ 2147483646 h 267"/>
                <a:gd name="T22" fmla="*/ 2147483646 w 633"/>
                <a:gd name="T23" fmla="*/ 2147483646 h 267"/>
                <a:gd name="T24" fmla="*/ 2147483646 w 633"/>
                <a:gd name="T25" fmla="*/ 2147483646 h 267"/>
                <a:gd name="T26" fmla="*/ 2147483646 w 633"/>
                <a:gd name="T27" fmla="*/ 2147483646 h 267"/>
                <a:gd name="T28" fmla="*/ 2147483646 w 633"/>
                <a:gd name="T29" fmla="*/ 2147483646 h 267"/>
                <a:gd name="T30" fmla="*/ 2147483646 w 633"/>
                <a:gd name="T31" fmla="*/ 2147483646 h 267"/>
                <a:gd name="T32" fmla="*/ 2147483646 w 633"/>
                <a:gd name="T33" fmla="*/ 2147483646 h 267"/>
                <a:gd name="T34" fmla="*/ 2147483646 w 633"/>
                <a:gd name="T35" fmla="*/ 2147483646 h 267"/>
                <a:gd name="T36" fmla="*/ 2147483646 w 633"/>
                <a:gd name="T37" fmla="*/ 2147483646 h 267"/>
                <a:gd name="T38" fmla="*/ 2147483646 w 633"/>
                <a:gd name="T39" fmla="*/ 2147483646 h 267"/>
                <a:gd name="T40" fmla="*/ 2147483646 w 633"/>
                <a:gd name="T41" fmla="*/ 2147483646 h 267"/>
                <a:gd name="T42" fmla="*/ 2147483646 w 633"/>
                <a:gd name="T43" fmla="*/ 2147483646 h 267"/>
                <a:gd name="T44" fmla="*/ 2147483646 w 633"/>
                <a:gd name="T45" fmla="*/ 2147483646 h 267"/>
                <a:gd name="T46" fmla="*/ 2147483646 w 633"/>
                <a:gd name="T47" fmla="*/ 2147483646 h 267"/>
                <a:gd name="T48" fmla="*/ 2147483646 w 633"/>
                <a:gd name="T49" fmla="*/ 2147483646 h 267"/>
                <a:gd name="T50" fmla="*/ 2147483646 w 633"/>
                <a:gd name="T51" fmla="*/ 0 h 267"/>
                <a:gd name="T52" fmla="*/ 2147483646 w 633"/>
                <a:gd name="T53" fmla="*/ 2147483646 h 267"/>
                <a:gd name="T54" fmla="*/ 2147483646 w 633"/>
                <a:gd name="T55" fmla="*/ 2147483646 h 267"/>
                <a:gd name="T56" fmla="*/ 2147483646 w 633"/>
                <a:gd name="T57" fmla="*/ 2147483646 h 267"/>
                <a:gd name="T58" fmla="*/ 2147483646 w 633"/>
                <a:gd name="T59" fmla="*/ 2147483646 h 267"/>
                <a:gd name="T60" fmla="*/ 2147483646 w 633"/>
                <a:gd name="T61" fmla="*/ 2147483646 h 267"/>
                <a:gd name="T62" fmla="*/ 2147483646 w 633"/>
                <a:gd name="T63" fmla="*/ 2147483646 h 267"/>
                <a:gd name="T64" fmla="*/ 2147483646 w 633"/>
                <a:gd name="T65" fmla="*/ 2147483646 h 267"/>
                <a:gd name="T66" fmla="*/ 2147483646 w 633"/>
                <a:gd name="T67" fmla="*/ 2147483646 h 267"/>
                <a:gd name="T68" fmla="*/ 2147483646 w 633"/>
                <a:gd name="T69" fmla="*/ 2147483646 h 267"/>
                <a:gd name="T70" fmla="*/ 2147483646 w 633"/>
                <a:gd name="T71" fmla="*/ 2147483646 h 267"/>
                <a:gd name="T72" fmla="*/ 2147483646 w 633"/>
                <a:gd name="T73" fmla="*/ 2147483646 h 267"/>
                <a:gd name="T74" fmla="*/ 2147483646 w 633"/>
                <a:gd name="T75" fmla="*/ 2147483646 h 267"/>
                <a:gd name="T76" fmla="*/ 2147483646 w 633"/>
                <a:gd name="T77" fmla="*/ 2147483646 h 267"/>
                <a:gd name="T78" fmla="*/ 2147483646 w 633"/>
                <a:gd name="T79" fmla="*/ 2147483646 h 267"/>
                <a:gd name="T80" fmla="*/ 2147483646 w 633"/>
                <a:gd name="T81" fmla="*/ 2147483646 h 267"/>
                <a:gd name="T82" fmla="*/ 2147483646 w 633"/>
                <a:gd name="T83" fmla="*/ 2147483646 h 267"/>
                <a:gd name="T84" fmla="*/ 2147483646 w 633"/>
                <a:gd name="T85" fmla="*/ 2147483646 h 267"/>
                <a:gd name="T86" fmla="*/ 2147483646 w 633"/>
                <a:gd name="T87" fmla="*/ 2147483646 h 267"/>
                <a:gd name="T88" fmla="*/ 2147483646 w 633"/>
                <a:gd name="T89" fmla="*/ 2147483646 h 267"/>
                <a:gd name="T90" fmla="*/ 2147483646 w 633"/>
                <a:gd name="T91" fmla="*/ 2147483646 h 267"/>
                <a:gd name="T92" fmla="*/ 2147483646 w 633"/>
                <a:gd name="T93" fmla="*/ 2147483646 h 267"/>
                <a:gd name="T94" fmla="*/ 2147483646 w 633"/>
                <a:gd name="T95" fmla="*/ 2147483646 h 267"/>
                <a:gd name="T96" fmla="*/ 2147483646 w 633"/>
                <a:gd name="T97" fmla="*/ 2147483646 h 267"/>
                <a:gd name="T98" fmla="*/ 2147483646 w 633"/>
                <a:gd name="T99" fmla="*/ 2147483646 h 267"/>
                <a:gd name="T100" fmla="*/ 0 w 633"/>
                <a:gd name="T101" fmla="*/ 2147483646 h 267"/>
                <a:gd name="T102" fmla="*/ 0 w 633"/>
                <a:gd name="T103" fmla="*/ 2147483646 h 267"/>
                <a:gd name="T104" fmla="*/ 2147483646 w 633"/>
                <a:gd name="T105" fmla="*/ 2147483646 h 267"/>
                <a:gd name="T106" fmla="*/ 2147483646 w 633"/>
                <a:gd name="T107" fmla="*/ 2147483646 h 267"/>
                <a:gd name="T108" fmla="*/ 2147483646 w 633"/>
                <a:gd name="T109" fmla="*/ 2147483646 h 267"/>
                <a:gd name="T110" fmla="*/ 2147483646 w 633"/>
                <a:gd name="T111" fmla="*/ 2147483646 h 267"/>
                <a:gd name="T112" fmla="*/ 2147483646 w 633"/>
                <a:gd name="T113" fmla="*/ 2147483646 h 267"/>
                <a:gd name="T114" fmla="*/ 2147483646 w 633"/>
                <a:gd name="T115" fmla="*/ 0 h 267"/>
                <a:gd name="T116" fmla="*/ 2147483646 w 633"/>
                <a:gd name="T117" fmla="*/ 0 h 267"/>
                <a:gd name="T118" fmla="*/ 2147483646 w 633"/>
                <a:gd name="T119" fmla="*/ 0 h 267"/>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633"/>
                <a:gd name="T181" fmla="*/ 0 h 267"/>
                <a:gd name="T182" fmla="*/ 633 w 633"/>
                <a:gd name="T183" fmla="*/ 267 h 267"/>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633" h="267">
                  <a:moveTo>
                    <a:pt x="71" y="145"/>
                  </a:moveTo>
                  <a:lnTo>
                    <a:pt x="66" y="145"/>
                  </a:lnTo>
                  <a:lnTo>
                    <a:pt x="61" y="146"/>
                  </a:lnTo>
                  <a:lnTo>
                    <a:pt x="46" y="153"/>
                  </a:lnTo>
                  <a:lnTo>
                    <a:pt x="34" y="164"/>
                  </a:lnTo>
                  <a:lnTo>
                    <a:pt x="27" y="177"/>
                  </a:lnTo>
                  <a:lnTo>
                    <a:pt x="23" y="192"/>
                  </a:lnTo>
                  <a:lnTo>
                    <a:pt x="24" y="208"/>
                  </a:lnTo>
                  <a:lnTo>
                    <a:pt x="32" y="224"/>
                  </a:lnTo>
                  <a:lnTo>
                    <a:pt x="42" y="236"/>
                  </a:lnTo>
                  <a:lnTo>
                    <a:pt x="57" y="243"/>
                  </a:lnTo>
                  <a:lnTo>
                    <a:pt x="74" y="246"/>
                  </a:lnTo>
                  <a:lnTo>
                    <a:pt x="80" y="246"/>
                  </a:lnTo>
                  <a:lnTo>
                    <a:pt x="87" y="245"/>
                  </a:lnTo>
                  <a:lnTo>
                    <a:pt x="97" y="241"/>
                  </a:lnTo>
                  <a:lnTo>
                    <a:pt x="104" y="233"/>
                  </a:lnTo>
                  <a:lnTo>
                    <a:pt x="106" y="224"/>
                  </a:lnTo>
                  <a:lnTo>
                    <a:pt x="106" y="213"/>
                  </a:lnTo>
                  <a:lnTo>
                    <a:pt x="105" y="201"/>
                  </a:lnTo>
                  <a:lnTo>
                    <a:pt x="101" y="188"/>
                  </a:lnTo>
                  <a:lnTo>
                    <a:pt x="99" y="175"/>
                  </a:lnTo>
                  <a:lnTo>
                    <a:pt x="93" y="164"/>
                  </a:lnTo>
                  <a:lnTo>
                    <a:pt x="88" y="153"/>
                  </a:lnTo>
                  <a:lnTo>
                    <a:pt x="80" y="148"/>
                  </a:lnTo>
                  <a:lnTo>
                    <a:pt x="71" y="145"/>
                  </a:lnTo>
                  <a:close/>
                  <a:moveTo>
                    <a:pt x="569" y="0"/>
                  </a:moveTo>
                  <a:lnTo>
                    <a:pt x="588" y="2"/>
                  </a:lnTo>
                  <a:lnTo>
                    <a:pt x="605" y="12"/>
                  </a:lnTo>
                  <a:lnTo>
                    <a:pt x="618" y="26"/>
                  </a:lnTo>
                  <a:lnTo>
                    <a:pt x="626" y="44"/>
                  </a:lnTo>
                  <a:lnTo>
                    <a:pt x="630" y="61"/>
                  </a:lnTo>
                  <a:lnTo>
                    <a:pt x="633" y="80"/>
                  </a:lnTo>
                  <a:lnTo>
                    <a:pt x="629" y="98"/>
                  </a:lnTo>
                  <a:lnTo>
                    <a:pt x="620" y="114"/>
                  </a:lnTo>
                  <a:lnTo>
                    <a:pt x="605" y="126"/>
                  </a:lnTo>
                  <a:lnTo>
                    <a:pt x="588" y="133"/>
                  </a:lnTo>
                  <a:lnTo>
                    <a:pt x="380" y="187"/>
                  </a:lnTo>
                  <a:lnTo>
                    <a:pt x="79" y="264"/>
                  </a:lnTo>
                  <a:lnTo>
                    <a:pt x="78" y="264"/>
                  </a:lnTo>
                  <a:lnTo>
                    <a:pt x="71" y="266"/>
                  </a:lnTo>
                  <a:lnTo>
                    <a:pt x="63" y="267"/>
                  </a:lnTo>
                  <a:lnTo>
                    <a:pt x="45" y="263"/>
                  </a:lnTo>
                  <a:lnTo>
                    <a:pt x="28" y="255"/>
                  </a:lnTo>
                  <a:lnTo>
                    <a:pt x="15" y="241"/>
                  </a:lnTo>
                  <a:lnTo>
                    <a:pt x="7" y="222"/>
                  </a:lnTo>
                  <a:lnTo>
                    <a:pt x="4" y="216"/>
                  </a:lnTo>
                  <a:lnTo>
                    <a:pt x="2" y="205"/>
                  </a:lnTo>
                  <a:lnTo>
                    <a:pt x="0" y="198"/>
                  </a:lnTo>
                  <a:lnTo>
                    <a:pt x="0" y="190"/>
                  </a:lnTo>
                  <a:lnTo>
                    <a:pt x="3" y="171"/>
                  </a:lnTo>
                  <a:lnTo>
                    <a:pt x="12" y="154"/>
                  </a:lnTo>
                  <a:lnTo>
                    <a:pt x="27" y="141"/>
                  </a:lnTo>
                  <a:lnTo>
                    <a:pt x="45" y="133"/>
                  </a:lnTo>
                  <a:lnTo>
                    <a:pt x="554" y="1"/>
                  </a:lnTo>
                  <a:lnTo>
                    <a:pt x="563" y="0"/>
                  </a:lnTo>
                  <a:lnTo>
                    <a:pt x="569" y="0"/>
                  </a:lnTo>
                  <a:close/>
                </a:path>
              </a:pathLst>
            </a:custGeom>
            <a:solidFill>
              <a:srgbClr val="EDC9AD"/>
            </a:solidFill>
            <a:ln w="0">
              <a:solidFill>
                <a:srgbClr val="EDC9AD"/>
              </a:solidFill>
              <a:round/>
              <a:headEnd/>
              <a:tailEnd/>
            </a:ln>
          </p:spPr>
          <p:txBody>
            <a:bodyPr/>
            <a:lstStyle/>
            <a:p>
              <a:endParaRPr lang="es-ES">
                <a:solidFill>
                  <a:prstClr val="black"/>
                </a:solidFill>
                <a:latin typeface="Calibri" panose="020F0502020204030204"/>
              </a:endParaRPr>
            </a:p>
          </p:txBody>
        </p:sp>
        <p:sp>
          <p:nvSpPr>
            <p:cNvPr id="29" name="Freeform 3147">
              <a:extLst>
                <a:ext uri="{FF2B5EF4-FFF2-40B4-BE49-F238E27FC236}">
                  <a16:creationId xmlns:a16="http://schemas.microsoft.com/office/drawing/2014/main" id="{15061327-AC36-4290-B0CB-EF61DC6FAB8D}"/>
                </a:ext>
              </a:extLst>
            </p:cNvPr>
            <p:cNvSpPr>
              <a:spLocks/>
            </p:cNvSpPr>
            <p:nvPr/>
          </p:nvSpPr>
          <p:spPr bwMode="auto">
            <a:xfrm>
              <a:off x="10365162" y="2312438"/>
              <a:ext cx="98797" cy="120222"/>
            </a:xfrm>
            <a:custGeom>
              <a:avLst/>
              <a:gdLst>
                <a:gd name="T0" fmla="*/ 2147483646 w 83"/>
                <a:gd name="T1" fmla="*/ 0 h 101"/>
                <a:gd name="T2" fmla="*/ 2147483646 w 83"/>
                <a:gd name="T3" fmla="*/ 2147483646 h 101"/>
                <a:gd name="T4" fmla="*/ 2147483646 w 83"/>
                <a:gd name="T5" fmla="*/ 2147483646 h 101"/>
                <a:gd name="T6" fmla="*/ 2147483646 w 83"/>
                <a:gd name="T7" fmla="*/ 2147483646 h 101"/>
                <a:gd name="T8" fmla="*/ 2147483646 w 83"/>
                <a:gd name="T9" fmla="*/ 2147483646 h 101"/>
                <a:gd name="T10" fmla="*/ 2147483646 w 83"/>
                <a:gd name="T11" fmla="*/ 2147483646 h 101"/>
                <a:gd name="T12" fmla="*/ 2147483646 w 83"/>
                <a:gd name="T13" fmla="*/ 2147483646 h 101"/>
                <a:gd name="T14" fmla="*/ 2147483646 w 83"/>
                <a:gd name="T15" fmla="*/ 2147483646 h 101"/>
                <a:gd name="T16" fmla="*/ 2147483646 w 83"/>
                <a:gd name="T17" fmla="*/ 2147483646 h 101"/>
                <a:gd name="T18" fmla="*/ 2147483646 w 83"/>
                <a:gd name="T19" fmla="*/ 2147483646 h 101"/>
                <a:gd name="T20" fmla="*/ 2147483646 w 83"/>
                <a:gd name="T21" fmla="*/ 2147483646 h 101"/>
                <a:gd name="T22" fmla="*/ 2147483646 w 83"/>
                <a:gd name="T23" fmla="*/ 2147483646 h 101"/>
                <a:gd name="T24" fmla="*/ 2147483646 w 83"/>
                <a:gd name="T25" fmla="*/ 2147483646 h 101"/>
                <a:gd name="T26" fmla="*/ 2147483646 w 83"/>
                <a:gd name="T27" fmla="*/ 2147483646 h 101"/>
                <a:gd name="T28" fmla="*/ 2147483646 w 83"/>
                <a:gd name="T29" fmla="*/ 2147483646 h 101"/>
                <a:gd name="T30" fmla="*/ 2147483646 w 83"/>
                <a:gd name="T31" fmla="*/ 2147483646 h 101"/>
                <a:gd name="T32" fmla="*/ 2147483646 w 83"/>
                <a:gd name="T33" fmla="*/ 2147483646 h 101"/>
                <a:gd name="T34" fmla="*/ 2147483646 w 83"/>
                <a:gd name="T35" fmla="*/ 2147483646 h 101"/>
                <a:gd name="T36" fmla="*/ 0 w 83"/>
                <a:gd name="T37" fmla="*/ 2147483646 h 101"/>
                <a:gd name="T38" fmla="*/ 2147483646 w 83"/>
                <a:gd name="T39" fmla="*/ 2147483646 h 101"/>
                <a:gd name="T40" fmla="*/ 2147483646 w 83"/>
                <a:gd name="T41" fmla="*/ 2147483646 h 101"/>
                <a:gd name="T42" fmla="*/ 2147483646 w 83"/>
                <a:gd name="T43" fmla="*/ 2147483646 h 101"/>
                <a:gd name="T44" fmla="*/ 2147483646 w 83"/>
                <a:gd name="T45" fmla="*/ 2147483646 h 101"/>
                <a:gd name="T46" fmla="*/ 2147483646 w 83"/>
                <a:gd name="T47" fmla="*/ 0 h 101"/>
                <a:gd name="T48" fmla="*/ 2147483646 w 83"/>
                <a:gd name="T49" fmla="*/ 0 h 10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83"/>
                <a:gd name="T76" fmla="*/ 0 h 101"/>
                <a:gd name="T77" fmla="*/ 83 w 83"/>
                <a:gd name="T78" fmla="*/ 101 h 10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83" h="101">
                  <a:moveTo>
                    <a:pt x="48" y="0"/>
                  </a:moveTo>
                  <a:lnTo>
                    <a:pt x="57" y="3"/>
                  </a:lnTo>
                  <a:lnTo>
                    <a:pt x="65" y="8"/>
                  </a:lnTo>
                  <a:lnTo>
                    <a:pt x="70" y="19"/>
                  </a:lnTo>
                  <a:lnTo>
                    <a:pt x="76" y="30"/>
                  </a:lnTo>
                  <a:lnTo>
                    <a:pt x="78" y="43"/>
                  </a:lnTo>
                  <a:lnTo>
                    <a:pt x="82" y="56"/>
                  </a:lnTo>
                  <a:lnTo>
                    <a:pt x="83" y="68"/>
                  </a:lnTo>
                  <a:lnTo>
                    <a:pt x="83" y="79"/>
                  </a:lnTo>
                  <a:lnTo>
                    <a:pt x="81" y="88"/>
                  </a:lnTo>
                  <a:lnTo>
                    <a:pt x="74" y="96"/>
                  </a:lnTo>
                  <a:lnTo>
                    <a:pt x="64" y="100"/>
                  </a:lnTo>
                  <a:lnTo>
                    <a:pt x="57" y="101"/>
                  </a:lnTo>
                  <a:lnTo>
                    <a:pt x="51" y="101"/>
                  </a:lnTo>
                  <a:lnTo>
                    <a:pt x="34" y="98"/>
                  </a:lnTo>
                  <a:lnTo>
                    <a:pt x="19" y="91"/>
                  </a:lnTo>
                  <a:lnTo>
                    <a:pt x="9" y="79"/>
                  </a:lnTo>
                  <a:lnTo>
                    <a:pt x="1" y="63"/>
                  </a:lnTo>
                  <a:lnTo>
                    <a:pt x="0" y="47"/>
                  </a:lnTo>
                  <a:lnTo>
                    <a:pt x="4" y="32"/>
                  </a:lnTo>
                  <a:lnTo>
                    <a:pt x="11" y="19"/>
                  </a:lnTo>
                  <a:lnTo>
                    <a:pt x="23" y="8"/>
                  </a:lnTo>
                  <a:lnTo>
                    <a:pt x="38" y="1"/>
                  </a:lnTo>
                  <a:lnTo>
                    <a:pt x="43" y="0"/>
                  </a:lnTo>
                  <a:lnTo>
                    <a:pt x="48" y="0"/>
                  </a:lnTo>
                  <a:close/>
                </a:path>
              </a:pathLst>
            </a:custGeom>
            <a:solidFill>
              <a:srgbClr val="F5E3D5"/>
            </a:solidFill>
            <a:ln w="0">
              <a:solidFill>
                <a:srgbClr val="F5E3D5"/>
              </a:solidFill>
              <a:round/>
              <a:headEnd/>
              <a:tailEnd/>
            </a:ln>
          </p:spPr>
          <p:txBody>
            <a:bodyPr/>
            <a:lstStyle/>
            <a:p>
              <a:endParaRPr lang="es-ES">
                <a:solidFill>
                  <a:prstClr val="black"/>
                </a:solidFill>
                <a:latin typeface="Calibri" panose="020F0502020204030204"/>
              </a:endParaRPr>
            </a:p>
          </p:txBody>
        </p:sp>
        <p:sp>
          <p:nvSpPr>
            <p:cNvPr id="30" name="Freeform 3148">
              <a:extLst>
                <a:ext uri="{FF2B5EF4-FFF2-40B4-BE49-F238E27FC236}">
                  <a16:creationId xmlns:a16="http://schemas.microsoft.com/office/drawing/2014/main" id="{D05706ED-0914-4C75-9EED-89CCC0ED8E6A}"/>
                </a:ext>
              </a:extLst>
            </p:cNvPr>
            <p:cNvSpPr>
              <a:spLocks noEditPoints="1"/>
            </p:cNvSpPr>
            <p:nvPr/>
          </p:nvSpPr>
          <p:spPr bwMode="auto">
            <a:xfrm>
              <a:off x="11390025" y="1881543"/>
              <a:ext cx="796323" cy="484460"/>
            </a:xfrm>
            <a:custGeom>
              <a:avLst/>
              <a:gdLst>
                <a:gd name="T0" fmla="*/ 2147483646 w 669"/>
                <a:gd name="T1" fmla="*/ 2147483646 h 407"/>
                <a:gd name="T2" fmla="*/ 2147483646 w 669"/>
                <a:gd name="T3" fmla="*/ 2147483646 h 407"/>
                <a:gd name="T4" fmla="*/ 2147483646 w 669"/>
                <a:gd name="T5" fmla="*/ 2147483646 h 407"/>
                <a:gd name="T6" fmla="*/ 2147483646 w 669"/>
                <a:gd name="T7" fmla="*/ 2147483646 h 407"/>
                <a:gd name="T8" fmla="*/ 2147483646 w 669"/>
                <a:gd name="T9" fmla="*/ 2147483646 h 407"/>
                <a:gd name="T10" fmla="*/ 2147483646 w 669"/>
                <a:gd name="T11" fmla="*/ 2147483646 h 407"/>
                <a:gd name="T12" fmla="*/ 2147483646 w 669"/>
                <a:gd name="T13" fmla="*/ 2147483646 h 407"/>
                <a:gd name="T14" fmla="*/ 2147483646 w 669"/>
                <a:gd name="T15" fmla="*/ 2147483646 h 407"/>
                <a:gd name="T16" fmla="*/ 2147483646 w 669"/>
                <a:gd name="T17" fmla="*/ 2147483646 h 407"/>
                <a:gd name="T18" fmla="*/ 2147483646 w 669"/>
                <a:gd name="T19" fmla="*/ 2147483646 h 407"/>
                <a:gd name="T20" fmla="*/ 2147483646 w 669"/>
                <a:gd name="T21" fmla="*/ 2147483646 h 407"/>
                <a:gd name="T22" fmla="*/ 2147483646 w 669"/>
                <a:gd name="T23" fmla="*/ 2147483646 h 407"/>
                <a:gd name="T24" fmla="*/ 2147483646 w 669"/>
                <a:gd name="T25" fmla="*/ 2147483646 h 407"/>
                <a:gd name="T26" fmla="*/ 2147483646 w 669"/>
                <a:gd name="T27" fmla="*/ 2147483646 h 407"/>
                <a:gd name="T28" fmla="*/ 2147483646 w 669"/>
                <a:gd name="T29" fmla="*/ 2147483646 h 407"/>
                <a:gd name="T30" fmla="*/ 2147483646 w 669"/>
                <a:gd name="T31" fmla="*/ 2147483646 h 407"/>
                <a:gd name="T32" fmla="*/ 2147483646 w 669"/>
                <a:gd name="T33" fmla="*/ 2147483646 h 407"/>
                <a:gd name="T34" fmla="*/ 2147483646 w 669"/>
                <a:gd name="T35" fmla="*/ 0 h 407"/>
                <a:gd name="T36" fmla="*/ 2147483646 w 669"/>
                <a:gd name="T37" fmla="*/ 2147483646 h 407"/>
                <a:gd name="T38" fmla="*/ 2147483646 w 669"/>
                <a:gd name="T39" fmla="*/ 2147483646 h 407"/>
                <a:gd name="T40" fmla="*/ 2147483646 w 669"/>
                <a:gd name="T41" fmla="*/ 2147483646 h 407"/>
                <a:gd name="T42" fmla="*/ 2147483646 w 669"/>
                <a:gd name="T43" fmla="*/ 2147483646 h 407"/>
                <a:gd name="T44" fmla="*/ 2147483646 w 669"/>
                <a:gd name="T45" fmla="*/ 2147483646 h 407"/>
                <a:gd name="T46" fmla="*/ 2147483646 w 669"/>
                <a:gd name="T47" fmla="*/ 2147483646 h 407"/>
                <a:gd name="T48" fmla="*/ 2147483646 w 669"/>
                <a:gd name="T49" fmla="*/ 2147483646 h 407"/>
                <a:gd name="T50" fmla="*/ 2147483646 w 669"/>
                <a:gd name="T51" fmla="*/ 2147483646 h 407"/>
                <a:gd name="T52" fmla="*/ 0 w 669"/>
                <a:gd name="T53" fmla="*/ 2147483646 h 407"/>
                <a:gd name="T54" fmla="*/ 2147483646 w 669"/>
                <a:gd name="T55" fmla="*/ 0 h 4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669"/>
                <a:gd name="T85" fmla="*/ 0 h 407"/>
                <a:gd name="T86" fmla="*/ 669 w 669"/>
                <a:gd name="T87" fmla="*/ 407 h 4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669" h="407">
                  <a:moveTo>
                    <a:pt x="93" y="180"/>
                  </a:moveTo>
                  <a:lnTo>
                    <a:pt x="84" y="180"/>
                  </a:lnTo>
                  <a:lnTo>
                    <a:pt x="72" y="187"/>
                  </a:lnTo>
                  <a:lnTo>
                    <a:pt x="63" y="197"/>
                  </a:lnTo>
                  <a:lnTo>
                    <a:pt x="59" y="209"/>
                  </a:lnTo>
                  <a:lnTo>
                    <a:pt x="59" y="223"/>
                  </a:lnTo>
                  <a:lnTo>
                    <a:pt x="66" y="237"/>
                  </a:lnTo>
                  <a:lnTo>
                    <a:pt x="77" y="246"/>
                  </a:lnTo>
                  <a:lnTo>
                    <a:pt x="93" y="248"/>
                  </a:lnTo>
                  <a:lnTo>
                    <a:pt x="101" y="247"/>
                  </a:lnTo>
                  <a:lnTo>
                    <a:pt x="114" y="242"/>
                  </a:lnTo>
                  <a:lnTo>
                    <a:pt x="122" y="231"/>
                  </a:lnTo>
                  <a:lnTo>
                    <a:pt x="127" y="219"/>
                  </a:lnTo>
                  <a:lnTo>
                    <a:pt x="126" y="205"/>
                  </a:lnTo>
                  <a:lnTo>
                    <a:pt x="119" y="192"/>
                  </a:lnTo>
                  <a:lnTo>
                    <a:pt x="107" y="183"/>
                  </a:lnTo>
                  <a:lnTo>
                    <a:pt x="93" y="180"/>
                  </a:lnTo>
                  <a:close/>
                  <a:moveTo>
                    <a:pt x="669" y="0"/>
                  </a:moveTo>
                  <a:lnTo>
                    <a:pt x="669" y="250"/>
                  </a:lnTo>
                  <a:lnTo>
                    <a:pt x="60" y="407"/>
                  </a:lnTo>
                  <a:lnTo>
                    <a:pt x="41" y="328"/>
                  </a:lnTo>
                  <a:lnTo>
                    <a:pt x="162" y="274"/>
                  </a:lnTo>
                  <a:lnTo>
                    <a:pt x="28" y="280"/>
                  </a:lnTo>
                  <a:lnTo>
                    <a:pt x="12" y="216"/>
                  </a:lnTo>
                  <a:lnTo>
                    <a:pt x="0" y="172"/>
                  </a:lnTo>
                  <a:lnTo>
                    <a:pt x="669" y="0"/>
                  </a:lnTo>
                  <a:close/>
                </a:path>
              </a:pathLst>
            </a:custGeom>
            <a:solidFill>
              <a:srgbClr val="BD996F"/>
            </a:solidFill>
            <a:ln w="0">
              <a:solidFill>
                <a:srgbClr val="BD996F"/>
              </a:solidFill>
              <a:round/>
              <a:headEnd/>
              <a:tailEnd/>
            </a:ln>
          </p:spPr>
          <p:txBody>
            <a:bodyPr/>
            <a:lstStyle/>
            <a:p>
              <a:endParaRPr lang="es-ES">
                <a:solidFill>
                  <a:prstClr val="black"/>
                </a:solidFill>
                <a:latin typeface="Calibri" panose="020F0502020204030204"/>
              </a:endParaRPr>
            </a:p>
          </p:txBody>
        </p:sp>
        <p:sp>
          <p:nvSpPr>
            <p:cNvPr id="31" name="Freeform 3149">
              <a:extLst>
                <a:ext uri="{FF2B5EF4-FFF2-40B4-BE49-F238E27FC236}">
                  <a16:creationId xmlns:a16="http://schemas.microsoft.com/office/drawing/2014/main" id="{5D1A0341-3E2F-46BA-896E-5A8F0A4C21CA}"/>
                </a:ext>
              </a:extLst>
            </p:cNvPr>
            <p:cNvSpPr>
              <a:spLocks noEditPoints="1"/>
            </p:cNvSpPr>
            <p:nvPr/>
          </p:nvSpPr>
          <p:spPr bwMode="auto">
            <a:xfrm>
              <a:off x="11460254" y="2095800"/>
              <a:ext cx="80942" cy="80942"/>
            </a:xfrm>
            <a:custGeom>
              <a:avLst/>
              <a:gdLst>
                <a:gd name="T0" fmla="*/ 2147483646 w 68"/>
                <a:gd name="T1" fmla="*/ 2147483646 h 68"/>
                <a:gd name="T2" fmla="*/ 2147483646 w 68"/>
                <a:gd name="T3" fmla="*/ 2147483646 h 68"/>
                <a:gd name="T4" fmla="*/ 2147483646 w 68"/>
                <a:gd name="T5" fmla="*/ 2147483646 h 68"/>
                <a:gd name="T6" fmla="*/ 2147483646 w 68"/>
                <a:gd name="T7" fmla="*/ 2147483646 h 68"/>
                <a:gd name="T8" fmla="*/ 2147483646 w 68"/>
                <a:gd name="T9" fmla="*/ 2147483646 h 68"/>
                <a:gd name="T10" fmla="*/ 2147483646 w 68"/>
                <a:gd name="T11" fmla="*/ 2147483646 h 68"/>
                <a:gd name="T12" fmla="*/ 2147483646 w 68"/>
                <a:gd name="T13" fmla="*/ 2147483646 h 68"/>
                <a:gd name="T14" fmla="*/ 2147483646 w 68"/>
                <a:gd name="T15" fmla="*/ 2147483646 h 68"/>
                <a:gd name="T16" fmla="*/ 2147483646 w 68"/>
                <a:gd name="T17" fmla="*/ 2147483646 h 68"/>
                <a:gd name="T18" fmla="*/ 2147483646 w 68"/>
                <a:gd name="T19" fmla="*/ 2147483646 h 68"/>
                <a:gd name="T20" fmla="*/ 2147483646 w 68"/>
                <a:gd name="T21" fmla="*/ 2147483646 h 68"/>
                <a:gd name="T22" fmla="*/ 2147483646 w 68"/>
                <a:gd name="T23" fmla="*/ 2147483646 h 68"/>
                <a:gd name="T24" fmla="*/ 2147483646 w 68"/>
                <a:gd name="T25" fmla="*/ 2147483646 h 68"/>
                <a:gd name="T26" fmla="*/ 2147483646 w 68"/>
                <a:gd name="T27" fmla="*/ 2147483646 h 68"/>
                <a:gd name="T28" fmla="*/ 2147483646 w 68"/>
                <a:gd name="T29" fmla="*/ 2147483646 h 68"/>
                <a:gd name="T30" fmla="*/ 2147483646 w 68"/>
                <a:gd name="T31" fmla="*/ 0 h 68"/>
                <a:gd name="T32" fmla="*/ 2147483646 w 68"/>
                <a:gd name="T33" fmla="*/ 2147483646 h 68"/>
                <a:gd name="T34" fmla="*/ 2147483646 w 68"/>
                <a:gd name="T35" fmla="*/ 2147483646 h 68"/>
                <a:gd name="T36" fmla="*/ 2147483646 w 68"/>
                <a:gd name="T37" fmla="*/ 2147483646 h 68"/>
                <a:gd name="T38" fmla="*/ 2147483646 w 68"/>
                <a:gd name="T39" fmla="*/ 2147483646 h 68"/>
                <a:gd name="T40" fmla="*/ 2147483646 w 68"/>
                <a:gd name="T41" fmla="*/ 2147483646 h 68"/>
                <a:gd name="T42" fmla="*/ 2147483646 w 68"/>
                <a:gd name="T43" fmla="*/ 2147483646 h 68"/>
                <a:gd name="T44" fmla="*/ 2147483646 w 68"/>
                <a:gd name="T45" fmla="*/ 2147483646 h 68"/>
                <a:gd name="T46" fmla="*/ 2147483646 w 68"/>
                <a:gd name="T47" fmla="*/ 2147483646 h 68"/>
                <a:gd name="T48" fmla="*/ 2147483646 w 68"/>
                <a:gd name="T49" fmla="*/ 2147483646 h 68"/>
                <a:gd name="T50" fmla="*/ 2147483646 w 68"/>
                <a:gd name="T51" fmla="*/ 2147483646 h 68"/>
                <a:gd name="T52" fmla="*/ 0 w 68"/>
                <a:gd name="T53" fmla="*/ 2147483646 h 68"/>
                <a:gd name="T54" fmla="*/ 0 w 68"/>
                <a:gd name="T55" fmla="*/ 2147483646 h 68"/>
                <a:gd name="T56" fmla="*/ 2147483646 w 68"/>
                <a:gd name="T57" fmla="*/ 2147483646 h 68"/>
                <a:gd name="T58" fmla="*/ 2147483646 w 68"/>
                <a:gd name="T59" fmla="*/ 2147483646 h 68"/>
                <a:gd name="T60" fmla="*/ 2147483646 w 68"/>
                <a:gd name="T61" fmla="*/ 0 h 68"/>
                <a:gd name="T62" fmla="*/ 2147483646 w 68"/>
                <a:gd name="T63" fmla="*/ 0 h 6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8"/>
                <a:gd name="T97" fmla="*/ 0 h 68"/>
                <a:gd name="T98" fmla="*/ 68 w 68"/>
                <a:gd name="T99" fmla="*/ 68 h 6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8" h="68">
                  <a:moveTo>
                    <a:pt x="34" y="12"/>
                  </a:moveTo>
                  <a:lnTo>
                    <a:pt x="27" y="12"/>
                  </a:lnTo>
                  <a:lnTo>
                    <a:pt x="18" y="19"/>
                  </a:lnTo>
                  <a:lnTo>
                    <a:pt x="12" y="28"/>
                  </a:lnTo>
                  <a:lnTo>
                    <a:pt x="12" y="39"/>
                  </a:lnTo>
                  <a:lnTo>
                    <a:pt x="17" y="49"/>
                  </a:lnTo>
                  <a:lnTo>
                    <a:pt x="24" y="54"/>
                  </a:lnTo>
                  <a:lnTo>
                    <a:pt x="34" y="57"/>
                  </a:lnTo>
                  <a:lnTo>
                    <a:pt x="39" y="57"/>
                  </a:lnTo>
                  <a:lnTo>
                    <a:pt x="50" y="50"/>
                  </a:lnTo>
                  <a:lnTo>
                    <a:pt x="55" y="41"/>
                  </a:lnTo>
                  <a:lnTo>
                    <a:pt x="55" y="29"/>
                  </a:lnTo>
                  <a:lnTo>
                    <a:pt x="51" y="20"/>
                  </a:lnTo>
                  <a:lnTo>
                    <a:pt x="43" y="13"/>
                  </a:lnTo>
                  <a:lnTo>
                    <a:pt x="34" y="12"/>
                  </a:lnTo>
                  <a:close/>
                  <a:moveTo>
                    <a:pt x="34" y="0"/>
                  </a:moveTo>
                  <a:lnTo>
                    <a:pt x="48" y="3"/>
                  </a:lnTo>
                  <a:lnTo>
                    <a:pt x="60" y="12"/>
                  </a:lnTo>
                  <a:lnTo>
                    <a:pt x="67" y="25"/>
                  </a:lnTo>
                  <a:lnTo>
                    <a:pt x="68" y="39"/>
                  </a:lnTo>
                  <a:lnTo>
                    <a:pt x="63" y="51"/>
                  </a:lnTo>
                  <a:lnTo>
                    <a:pt x="55" y="62"/>
                  </a:lnTo>
                  <a:lnTo>
                    <a:pt x="42" y="67"/>
                  </a:lnTo>
                  <a:lnTo>
                    <a:pt x="34" y="68"/>
                  </a:lnTo>
                  <a:lnTo>
                    <a:pt x="18" y="66"/>
                  </a:lnTo>
                  <a:lnTo>
                    <a:pt x="7" y="57"/>
                  </a:lnTo>
                  <a:lnTo>
                    <a:pt x="0" y="43"/>
                  </a:lnTo>
                  <a:lnTo>
                    <a:pt x="0" y="29"/>
                  </a:lnTo>
                  <a:lnTo>
                    <a:pt x="4" y="17"/>
                  </a:lnTo>
                  <a:lnTo>
                    <a:pt x="13" y="7"/>
                  </a:lnTo>
                  <a:lnTo>
                    <a:pt x="25" y="0"/>
                  </a:lnTo>
                  <a:lnTo>
                    <a:pt x="34" y="0"/>
                  </a:lnTo>
                  <a:close/>
                </a:path>
              </a:pathLst>
            </a:custGeom>
            <a:solidFill>
              <a:srgbClr val="4C4C4C"/>
            </a:solidFill>
            <a:ln w="0">
              <a:solidFill>
                <a:srgbClr val="4C4C4C"/>
              </a:solidFill>
              <a:round/>
              <a:headEnd/>
              <a:tailEnd/>
            </a:ln>
          </p:spPr>
          <p:txBody>
            <a:bodyPr/>
            <a:lstStyle/>
            <a:p>
              <a:endParaRPr lang="es-ES">
                <a:solidFill>
                  <a:prstClr val="black"/>
                </a:solidFill>
                <a:latin typeface="Calibri" panose="020F0502020204030204"/>
              </a:endParaRPr>
            </a:p>
          </p:txBody>
        </p:sp>
        <p:sp>
          <p:nvSpPr>
            <p:cNvPr id="32" name="Freeform 3150">
              <a:extLst>
                <a:ext uri="{FF2B5EF4-FFF2-40B4-BE49-F238E27FC236}">
                  <a16:creationId xmlns:a16="http://schemas.microsoft.com/office/drawing/2014/main" id="{F4CE81D2-1036-4FE2-A477-A5357155FD4D}"/>
                </a:ext>
              </a:extLst>
            </p:cNvPr>
            <p:cNvSpPr>
              <a:spLocks/>
            </p:cNvSpPr>
            <p:nvPr/>
          </p:nvSpPr>
          <p:spPr bwMode="auto">
            <a:xfrm>
              <a:off x="11474538" y="2110084"/>
              <a:ext cx="51184" cy="53565"/>
            </a:xfrm>
            <a:custGeom>
              <a:avLst/>
              <a:gdLst>
                <a:gd name="T0" fmla="*/ 2147483646 w 43"/>
                <a:gd name="T1" fmla="*/ 0 h 45"/>
                <a:gd name="T2" fmla="*/ 2147483646 w 43"/>
                <a:gd name="T3" fmla="*/ 2147483646 h 45"/>
                <a:gd name="T4" fmla="*/ 2147483646 w 43"/>
                <a:gd name="T5" fmla="*/ 2147483646 h 45"/>
                <a:gd name="T6" fmla="*/ 2147483646 w 43"/>
                <a:gd name="T7" fmla="*/ 2147483646 h 45"/>
                <a:gd name="T8" fmla="*/ 2147483646 w 43"/>
                <a:gd name="T9" fmla="*/ 2147483646 h 45"/>
                <a:gd name="T10" fmla="*/ 2147483646 w 43"/>
                <a:gd name="T11" fmla="*/ 2147483646 h 45"/>
                <a:gd name="T12" fmla="*/ 2147483646 w 43"/>
                <a:gd name="T13" fmla="*/ 2147483646 h 45"/>
                <a:gd name="T14" fmla="*/ 2147483646 w 43"/>
                <a:gd name="T15" fmla="*/ 2147483646 h 45"/>
                <a:gd name="T16" fmla="*/ 2147483646 w 43"/>
                <a:gd name="T17" fmla="*/ 2147483646 h 45"/>
                <a:gd name="T18" fmla="*/ 2147483646 w 43"/>
                <a:gd name="T19" fmla="*/ 2147483646 h 45"/>
                <a:gd name="T20" fmla="*/ 0 w 43"/>
                <a:gd name="T21" fmla="*/ 2147483646 h 45"/>
                <a:gd name="T22" fmla="*/ 0 w 43"/>
                <a:gd name="T23" fmla="*/ 2147483646 h 45"/>
                <a:gd name="T24" fmla="*/ 2147483646 w 43"/>
                <a:gd name="T25" fmla="*/ 2147483646 h 45"/>
                <a:gd name="T26" fmla="*/ 2147483646 w 43"/>
                <a:gd name="T27" fmla="*/ 0 h 45"/>
                <a:gd name="T28" fmla="*/ 2147483646 w 43"/>
                <a:gd name="T29" fmla="*/ 0 h 4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3"/>
                <a:gd name="T46" fmla="*/ 0 h 45"/>
                <a:gd name="T47" fmla="*/ 43 w 43"/>
                <a:gd name="T48" fmla="*/ 45 h 4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3" h="45">
                  <a:moveTo>
                    <a:pt x="22" y="0"/>
                  </a:moveTo>
                  <a:lnTo>
                    <a:pt x="31" y="1"/>
                  </a:lnTo>
                  <a:lnTo>
                    <a:pt x="39" y="8"/>
                  </a:lnTo>
                  <a:lnTo>
                    <a:pt x="43" y="17"/>
                  </a:lnTo>
                  <a:lnTo>
                    <a:pt x="43" y="29"/>
                  </a:lnTo>
                  <a:lnTo>
                    <a:pt x="38" y="38"/>
                  </a:lnTo>
                  <a:lnTo>
                    <a:pt x="27" y="45"/>
                  </a:lnTo>
                  <a:lnTo>
                    <a:pt x="22" y="45"/>
                  </a:lnTo>
                  <a:lnTo>
                    <a:pt x="12" y="42"/>
                  </a:lnTo>
                  <a:lnTo>
                    <a:pt x="5" y="37"/>
                  </a:lnTo>
                  <a:lnTo>
                    <a:pt x="0" y="27"/>
                  </a:lnTo>
                  <a:lnTo>
                    <a:pt x="0" y="16"/>
                  </a:lnTo>
                  <a:lnTo>
                    <a:pt x="6" y="7"/>
                  </a:lnTo>
                  <a:lnTo>
                    <a:pt x="15" y="0"/>
                  </a:lnTo>
                  <a:lnTo>
                    <a:pt x="22" y="0"/>
                  </a:lnTo>
                  <a:close/>
                </a:path>
              </a:pathLst>
            </a:custGeom>
            <a:solidFill>
              <a:srgbClr val="333333"/>
            </a:solidFill>
            <a:ln w="0">
              <a:solidFill>
                <a:srgbClr val="333333"/>
              </a:solidFill>
              <a:round/>
              <a:headEnd/>
              <a:tailEnd/>
            </a:ln>
          </p:spPr>
          <p:txBody>
            <a:bodyPr/>
            <a:lstStyle/>
            <a:p>
              <a:endParaRPr lang="es-ES">
                <a:solidFill>
                  <a:prstClr val="black"/>
                </a:solidFill>
                <a:latin typeface="Calibri" panose="020F0502020204030204"/>
              </a:endParaRPr>
            </a:p>
          </p:txBody>
        </p:sp>
      </p:grpSp>
    </p:spTree>
    <p:extLst>
      <p:ext uri="{BB962C8B-B14F-4D97-AF65-F5344CB8AC3E}">
        <p14:creationId xmlns:p14="http://schemas.microsoft.com/office/powerpoint/2010/main" val="12250662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upo 34">
            <a:extLst>
              <a:ext uri="{FF2B5EF4-FFF2-40B4-BE49-F238E27FC236}">
                <a16:creationId xmlns:a16="http://schemas.microsoft.com/office/drawing/2014/main" id="{478416AA-EE7B-4F15-9454-24F9B73B16AF}"/>
              </a:ext>
            </a:extLst>
          </p:cNvPr>
          <p:cNvGrpSpPr/>
          <p:nvPr/>
        </p:nvGrpSpPr>
        <p:grpSpPr>
          <a:xfrm>
            <a:off x="400915" y="1355536"/>
            <a:ext cx="11153773" cy="4699866"/>
            <a:chOff x="1952626" y="1643063"/>
            <a:chExt cx="8358187" cy="3900125"/>
          </a:xfrm>
        </p:grpSpPr>
        <p:sp>
          <p:nvSpPr>
            <p:cNvPr id="36" name="107 Trapecio">
              <a:extLst>
                <a:ext uri="{FF2B5EF4-FFF2-40B4-BE49-F238E27FC236}">
                  <a16:creationId xmlns:a16="http://schemas.microsoft.com/office/drawing/2014/main" id="{08674DAE-A89E-4CF3-BDF9-AD43F09ED1B4}"/>
                </a:ext>
              </a:extLst>
            </p:cNvPr>
            <p:cNvSpPr/>
            <p:nvPr/>
          </p:nvSpPr>
          <p:spPr>
            <a:xfrm rot="10800000">
              <a:off x="7970838" y="1646238"/>
              <a:ext cx="2339975" cy="3896950"/>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7" name="105 Trapecio">
              <a:extLst>
                <a:ext uri="{FF2B5EF4-FFF2-40B4-BE49-F238E27FC236}">
                  <a16:creationId xmlns:a16="http://schemas.microsoft.com/office/drawing/2014/main" id="{2803C176-A306-4C85-BF47-38E526DCCFCC}"/>
                </a:ext>
              </a:extLst>
            </p:cNvPr>
            <p:cNvSpPr/>
            <p:nvPr/>
          </p:nvSpPr>
          <p:spPr>
            <a:xfrm>
              <a:off x="5970589" y="1643063"/>
              <a:ext cx="2339975" cy="3900125"/>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8" name="104 Trapecio">
              <a:extLst>
                <a:ext uri="{FF2B5EF4-FFF2-40B4-BE49-F238E27FC236}">
                  <a16:creationId xmlns:a16="http://schemas.microsoft.com/office/drawing/2014/main" id="{65104E4C-CA24-44B8-AD4D-8B5E436644E9}"/>
                </a:ext>
              </a:extLst>
            </p:cNvPr>
            <p:cNvSpPr/>
            <p:nvPr/>
          </p:nvSpPr>
          <p:spPr>
            <a:xfrm rot="10800000">
              <a:off x="3970338" y="1646238"/>
              <a:ext cx="2339975" cy="3864888"/>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9" name="103 Trapecio">
              <a:extLst>
                <a:ext uri="{FF2B5EF4-FFF2-40B4-BE49-F238E27FC236}">
                  <a16:creationId xmlns:a16="http://schemas.microsoft.com/office/drawing/2014/main" id="{4971B0AA-2B81-4741-8BBC-B2D7EB0DF7E0}"/>
                </a:ext>
              </a:extLst>
            </p:cNvPr>
            <p:cNvSpPr/>
            <p:nvPr/>
          </p:nvSpPr>
          <p:spPr>
            <a:xfrm>
              <a:off x="1952626" y="1643063"/>
              <a:ext cx="2339975" cy="3868063"/>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grpSp>
          <p:nvGrpSpPr>
            <p:cNvPr id="40" name="Grupo 1">
              <a:extLst>
                <a:ext uri="{FF2B5EF4-FFF2-40B4-BE49-F238E27FC236}">
                  <a16:creationId xmlns:a16="http://schemas.microsoft.com/office/drawing/2014/main" id="{6AF6FF8B-7F6E-4314-91E9-4EF0A02AD0EC}"/>
                </a:ext>
              </a:extLst>
            </p:cNvPr>
            <p:cNvGrpSpPr>
              <a:grpSpLocks/>
            </p:cNvGrpSpPr>
            <p:nvPr/>
          </p:nvGrpSpPr>
          <p:grpSpPr bwMode="auto">
            <a:xfrm rot="307171">
              <a:off x="2245926" y="2674125"/>
              <a:ext cx="7847871" cy="2062156"/>
              <a:chOff x="618145" y="2465599"/>
              <a:chExt cx="7848536" cy="2061983"/>
            </a:xfrm>
          </p:grpSpPr>
          <p:sp>
            <p:nvSpPr>
              <p:cNvPr id="41" name="Freeform 241">
                <a:extLst>
                  <a:ext uri="{FF2B5EF4-FFF2-40B4-BE49-F238E27FC236}">
                    <a16:creationId xmlns:a16="http://schemas.microsoft.com/office/drawing/2014/main" id="{52AEA754-6C58-4ABB-91F5-8E7D203CF8B8}"/>
                  </a:ext>
                </a:extLst>
              </p:cNvPr>
              <p:cNvSpPr>
                <a:spLocks/>
              </p:cNvSpPr>
              <p:nvPr/>
            </p:nvSpPr>
            <p:spPr bwMode="auto">
              <a:xfrm rot="3227663">
                <a:off x="880244" y="2646016"/>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A10F3C"/>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2" name="Freeform 241">
                <a:extLst>
                  <a:ext uri="{FF2B5EF4-FFF2-40B4-BE49-F238E27FC236}">
                    <a16:creationId xmlns:a16="http://schemas.microsoft.com/office/drawing/2014/main" id="{5256108D-3E8E-48BF-974F-EA94B9773B79}"/>
                  </a:ext>
                </a:extLst>
              </p:cNvPr>
              <p:cNvSpPr>
                <a:spLocks/>
              </p:cNvSpPr>
              <p:nvPr/>
            </p:nvSpPr>
            <p:spPr bwMode="auto">
              <a:xfrm rot="3400525">
                <a:off x="4672020" y="2203500"/>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00B050"/>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 name="Freeform 241">
                <a:extLst>
                  <a:ext uri="{FF2B5EF4-FFF2-40B4-BE49-F238E27FC236}">
                    <a16:creationId xmlns:a16="http://schemas.microsoft.com/office/drawing/2014/main" id="{229F73BB-E848-4A5F-A844-CDE2ADB45D0C}"/>
                  </a:ext>
                </a:extLst>
              </p:cNvPr>
              <p:cNvSpPr>
                <a:spLocks/>
              </p:cNvSpPr>
              <p:nvPr/>
            </p:nvSpPr>
            <p:spPr bwMode="auto">
              <a:xfrm rot="17536742" flipV="1">
                <a:off x="2792533" y="2619858"/>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A10F3C"/>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4" name="Freeform 241">
                <a:extLst>
                  <a:ext uri="{FF2B5EF4-FFF2-40B4-BE49-F238E27FC236}">
                    <a16:creationId xmlns:a16="http://schemas.microsoft.com/office/drawing/2014/main" id="{E4FE465A-7868-4632-8350-955251B4E737}"/>
                  </a:ext>
                </a:extLst>
              </p:cNvPr>
              <p:cNvSpPr>
                <a:spLocks/>
              </p:cNvSpPr>
              <p:nvPr/>
            </p:nvSpPr>
            <p:spPr bwMode="auto">
              <a:xfrm rot="17536742" flipV="1">
                <a:off x="6585115" y="2229055"/>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4472C4">
                  <a:lumMod val="75000"/>
                </a:srgbClr>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grpSp>
      <p:sp>
        <p:nvSpPr>
          <p:cNvPr id="46" name="Rectángulo 45">
            <a:extLst>
              <a:ext uri="{FF2B5EF4-FFF2-40B4-BE49-F238E27FC236}">
                <a16:creationId xmlns:a16="http://schemas.microsoft.com/office/drawing/2014/main" id="{4221593A-321A-4DD6-BB69-D48F5EEF90D9}"/>
              </a:ext>
            </a:extLst>
          </p:cNvPr>
          <p:cNvSpPr/>
          <p:nvPr/>
        </p:nvSpPr>
        <p:spPr>
          <a:xfrm>
            <a:off x="795111" y="1895968"/>
            <a:ext cx="2423611" cy="82189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Vincular mano de obra </a:t>
            </a: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de las comunidades de la zona de influencia de los proyectos. </a:t>
            </a:r>
          </a:p>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endParaRPr>
          </a:p>
        </p:txBody>
      </p:sp>
      <p:sp>
        <p:nvSpPr>
          <p:cNvPr id="47" name="CuadroTexto 46">
            <a:extLst>
              <a:ext uri="{FF2B5EF4-FFF2-40B4-BE49-F238E27FC236}">
                <a16:creationId xmlns:a16="http://schemas.microsoft.com/office/drawing/2014/main" id="{ABD5C628-54C4-4574-BE04-E922181E6A83}"/>
              </a:ext>
            </a:extLst>
          </p:cNvPr>
          <p:cNvSpPr txBox="1"/>
          <p:nvPr/>
        </p:nvSpPr>
        <p:spPr>
          <a:xfrm>
            <a:off x="918673" y="1373800"/>
            <a:ext cx="2076748" cy="292388"/>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RECHO AL TRABAJO</a:t>
            </a:r>
          </a:p>
        </p:txBody>
      </p:sp>
      <p:pic>
        <p:nvPicPr>
          <p:cNvPr id="49" name="Imagen 48">
            <a:extLst>
              <a:ext uri="{FF2B5EF4-FFF2-40B4-BE49-F238E27FC236}">
                <a16:creationId xmlns:a16="http://schemas.microsoft.com/office/drawing/2014/main" id="{64AA7C18-7107-4A83-B95A-8FB3CAD0430F}"/>
              </a:ext>
            </a:extLst>
          </p:cNvPr>
          <p:cNvPicPr>
            <a:picLocks noChangeAspect="1"/>
          </p:cNvPicPr>
          <p:nvPr/>
        </p:nvPicPr>
        <p:blipFill>
          <a:blip r:embed="rId2"/>
          <a:stretch>
            <a:fillRect/>
          </a:stretch>
        </p:blipFill>
        <p:spPr>
          <a:xfrm>
            <a:off x="4164433" y="2665040"/>
            <a:ext cx="1136773" cy="1136773"/>
          </a:xfrm>
          <a:prstGeom prst="rect">
            <a:avLst/>
          </a:prstGeom>
        </p:spPr>
      </p:pic>
      <p:sp>
        <p:nvSpPr>
          <p:cNvPr id="50" name="Rectángulo 49">
            <a:extLst>
              <a:ext uri="{FF2B5EF4-FFF2-40B4-BE49-F238E27FC236}">
                <a16:creationId xmlns:a16="http://schemas.microsoft.com/office/drawing/2014/main" id="{7A3ADA4A-E4F2-4FF6-9F7B-BB2722EA87A2}"/>
              </a:ext>
            </a:extLst>
          </p:cNvPr>
          <p:cNvSpPr/>
          <p:nvPr/>
        </p:nvSpPr>
        <p:spPr>
          <a:xfrm>
            <a:off x="3115773" y="1935729"/>
            <a:ext cx="2966335" cy="449354"/>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Promover</a:t>
            </a: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 el desarrollo de </a:t>
            </a:r>
            <a:r>
              <a:rPr kumimoji="0" lang="es-CO" sz="1100" b="1"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iniciativas y/o proyectos productivos</a:t>
            </a: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a:t>
            </a:r>
          </a:p>
        </p:txBody>
      </p:sp>
      <p:sp>
        <p:nvSpPr>
          <p:cNvPr id="52" name="CuadroTexto 51">
            <a:extLst>
              <a:ext uri="{FF2B5EF4-FFF2-40B4-BE49-F238E27FC236}">
                <a16:creationId xmlns:a16="http://schemas.microsoft.com/office/drawing/2014/main" id="{45BA73D1-E290-46EE-A158-33E34211E091}"/>
              </a:ext>
            </a:extLst>
          </p:cNvPr>
          <p:cNvSpPr txBox="1"/>
          <p:nvPr/>
        </p:nvSpPr>
        <p:spPr>
          <a:xfrm>
            <a:off x="3099880" y="1361587"/>
            <a:ext cx="3100045" cy="292388"/>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L TRABAJO</a:t>
            </a:r>
          </a:p>
        </p:txBody>
      </p:sp>
      <p:sp>
        <p:nvSpPr>
          <p:cNvPr id="53" name="Rectángulo 52">
            <a:extLst>
              <a:ext uri="{FF2B5EF4-FFF2-40B4-BE49-F238E27FC236}">
                <a16:creationId xmlns:a16="http://schemas.microsoft.com/office/drawing/2014/main" id="{FAE5E3B5-0991-4514-BC23-C403EB56874F}"/>
              </a:ext>
            </a:extLst>
          </p:cNvPr>
          <p:cNvSpPr/>
          <p:nvPr/>
        </p:nvSpPr>
        <p:spPr>
          <a:xfrm>
            <a:off x="8453954" y="1789966"/>
            <a:ext cx="2969600" cy="82189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mover, respetar y </a:t>
            </a:r>
            <a:r>
              <a:rPr kumimoji="0" lang="es-CO"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arantizar el derecho a la Consulta Previa de las </a:t>
            </a: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munidades étnicas localizadas en la zona de los proyectos</a:t>
            </a:r>
          </a:p>
        </p:txBody>
      </p:sp>
      <p:sp>
        <p:nvSpPr>
          <p:cNvPr id="54" name="CuadroTexto 53">
            <a:extLst>
              <a:ext uri="{FF2B5EF4-FFF2-40B4-BE49-F238E27FC236}">
                <a16:creationId xmlns:a16="http://schemas.microsoft.com/office/drawing/2014/main" id="{215080A5-3A81-433C-9AFF-B8A6F66B8C9F}"/>
              </a:ext>
            </a:extLst>
          </p:cNvPr>
          <p:cNvSpPr txBox="1"/>
          <p:nvPr/>
        </p:nvSpPr>
        <p:spPr>
          <a:xfrm>
            <a:off x="8460078" y="1359272"/>
            <a:ext cx="3094609" cy="292388"/>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CONSULTA PREVIA</a:t>
            </a:r>
          </a:p>
        </p:txBody>
      </p:sp>
      <p:pic>
        <p:nvPicPr>
          <p:cNvPr id="55" name="Imagen 54">
            <a:extLst>
              <a:ext uri="{FF2B5EF4-FFF2-40B4-BE49-F238E27FC236}">
                <a16:creationId xmlns:a16="http://schemas.microsoft.com/office/drawing/2014/main" id="{8445136E-7F4D-4F9B-BBB2-FBDC781935BB}"/>
              </a:ext>
            </a:extLst>
          </p:cNvPr>
          <p:cNvPicPr>
            <a:picLocks noChangeAspect="1"/>
          </p:cNvPicPr>
          <p:nvPr/>
        </p:nvPicPr>
        <p:blipFill>
          <a:blip r:embed="rId3"/>
          <a:stretch>
            <a:fillRect/>
          </a:stretch>
        </p:blipFill>
        <p:spPr>
          <a:xfrm>
            <a:off x="9333537" y="2693371"/>
            <a:ext cx="1087407" cy="1087407"/>
          </a:xfrm>
          <a:prstGeom prst="rect">
            <a:avLst/>
          </a:prstGeom>
        </p:spPr>
      </p:pic>
      <p:pic>
        <p:nvPicPr>
          <p:cNvPr id="56" name="Imagen 55">
            <a:extLst>
              <a:ext uri="{FF2B5EF4-FFF2-40B4-BE49-F238E27FC236}">
                <a16:creationId xmlns:a16="http://schemas.microsoft.com/office/drawing/2014/main" id="{2F5368CB-930A-4CD9-9D10-B0FF3747D5AB}"/>
              </a:ext>
            </a:extLst>
          </p:cNvPr>
          <p:cNvPicPr>
            <a:picLocks noChangeAspect="1"/>
          </p:cNvPicPr>
          <p:nvPr/>
        </p:nvPicPr>
        <p:blipFill>
          <a:blip r:embed="rId4"/>
          <a:stretch>
            <a:fillRect/>
          </a:stretch>
        </p:blipFill>
        <p:spPr>
          <a:xfrm>
            <a:off x="6901324" y="3862016"/>
            <a:ext cx="1054092" cy="1054092"/>
          </a:xfrm>
          <a:prstGeom prst="rect">
            <a:avLst/>
          </a:prstGeom>
        </p:spPr>
      </p:pic>
      <p:sp>
        <p:nvSpPr>
          <p:cNvPr id="57" name="Rectángulo 56">
            <a:extLst>
              <a:ext uri="{FF2B5EF4-FFF2-40B4-BE49-F238E27FC236}">
                <a16:creationId xmlns:a16="http://schemas.microsoft.com/office/drawing/2014/main" id="{28F1B8F1-789D-4C8D-9B05-7AB319506EB8}"/>
              </a:ext>
            </a:extLst>
          </p:cNvPr>
          <p:cNvSpPr/>
          <p:nvPr/>
        </p:nvSpPr>
        <p:spPr>
          <a:xfrm>
            <a:off x="6029303" y="1810647"/>
            <a:ext cx="2530917" cy="1008096"/>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Implementar acciones pedagógicas que contribuyan al </a:t>
            </a:r>
            <a:r>
              <a:rPr kumimoji="0" lang="es-CO"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so adecuado de la infraestructura  </a:t>
            </a: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ara la prevención de accidentes</a:t>
            </a:r>
          </a:p>
        </p:txBody>
      </p:sp>
      <p:sp>
        <p:nvSpPr>
          <p:cNvPr id="58" name="CuadroTexto 57">
            <a:extLst>
              <a:ext uri="{FF2B5EF4-FFF2-40B4-BE49-F238E27FC236}">
                <a16:creationId xmlns:a16="http://schemas.microsoft.com/office/drawing/2014/main" id="{5AB5CB09-A6C0-4B51-B36A-27AED6F50006}"/>
              </a:ext>
            </a:extLst>
          </p:cNvPr>
          <p:cNvSpPr txBox="1"/>
          <p:nvPr/>
        </p:nvSpPr>
        <p:spPr>
          <a:xfrm>
            <a:off x="6256485" y="1359272"/>
            <a:ext cx="2125515" cy="292388"/>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VIDA</a:t>
            </a:r>
          </a:p>
        </p:txBody>
      </p:sp>
      <p:sp>
        <p:nvSpPr>
          <p:cNvPr id="59" name="Rectángulo 58">
            <a:extLst>
              <a:ext uri="{FF2B5EF4-FFF2-40B4-BE49-F238E27FC236}">
                <a16:creationId xmlns:a16="http://schemas.microsoft.com/office/drawing/2014/main" id="{578B5190-774F-434E-ABC0-077D506920BB}"/>
              </a:ext>
            </a:extLst>
          </p:cNvPr>
          <p:cNvSpPr/>
          <p:nvPr/>
        </p:nvSpPr>
        <p:spPr>
          <a:xfrm>
            <a:off x="5926655" y="5116682"/>
            <a:ext cx="2866715" cy="938719"/>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Más de </a:t>
            </a:r>
            <a:r>
              <a:rPr lang="es-CO" sz="1100" b="1" kern="0" dirty="0">
                <a:solidFill>
                  <a:srgbClr val="000000"/>
                </a:solidFill>
                <a:latin typeface="Century Gothic" panose="020B0502020202020204" pitchFamily="34" charset="0"/>
                <a:cs typeface="Arial"/>
                <a:sym typeface="Arial"/>
              </a:rPr>
              <a:t>166</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 campañas de cultura vial</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 y </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340 actividades pedagógicas de formación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que han impactado significativamente en </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144,500 personas. </a:t>
            </a:r>
            <a:endParaRPr kumimoji="0" lang="en-US"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endParaRPr>
          </a:p>
        </p:txBody>
      </p:sp>
      <p:sp>
        <p:nvSpPr>
          <p:cNvPr id="60" name="Rectángulo 59">
            <a:extLst>
              <a:ext uri="{FF2B5EF4-FFF2-40B4-BE49-F238E27FC236}">
                <a16:creationId xmlns:a16="http://schemas.microsoft.com/office/drawing/2014/main" id="{78133051-A36F-4BBF-A062-5E038B5ABFCB}"/>
              </a:ext>
            </a:extLst>
          </p:cNvPr>
          <p:cNvSpPr/>
          <p:nvPr/>
        </p:nvSpPr>
        <p:spPr>
          <a:xfrm>
            <a:off x="8810080" y="5070262"/>
            <a:ext cx="2306042" cy="769441"/>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De los 29 proyectos 4G, 9 han requerido 39 consultas previas.</a:t>
            </a:r>
          </a:p>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Actualmente se tiene un</a:t>
            </a: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rPr>
              <a:t> 92.4% de avance </a:t>
            </a:r>
            <a:endParaRPr kumimoji="0" lang="en-US"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endParaRPr>
          </a:p>
        </p:txBody>
      </p:sp>
      <p:pic>
        <p:nvPicPr>
          <p:cNvPr id="62" name="Imagen 61">
            <a:extLst>
              <a:ext uri="{FF2B5EF4-FFF2-40B4-BE49-F238E27FC236}">
                <a16:creationId xmlns:a16="http://schemas.microsoft.com/office/drawing/2014/main" id="{7882BDF9-C7AB-4FB0-AA27-57A4C3193A62}"/>
              </a:ext>
            </a:extLst>
          </p:cNvPr>
          <p:cNvPicPr>
            <a:picLocks noChangeAspect="1"/>
          </p:cNvPicPr>
          <p:nvPr/>
        </p:nvPicPr>
        <p:blipFill>
          <a:blip r:embed="rId2"/>
          <a:stretch>
            <a:fillRect/>
          </a:stretch>
        </p:blipFill>
        <p:spPr>
          <a:xfrm>
            <a:off x="1709998" y="3974971"/>
            <a:ext cx="1136773" cy="1136773"/>
          </a:xfrm>
          <a:prstGeom prst="rect">
            <a:avLst/>
          </a:prstGeom>
        </p:spPr>
      </p:pic>
      <p:sp>
        <p:nvSpPr>
          <p:cNvPr id="63" name="Rectángulo 62">
            <a:extLst>
              <a:ext uri="{FF2B5EF4-FFF2-40B4-BE49-F238E27FC236}">
                <a16:creationId xmlns:a16="http://schemas.microsoft.com/office/drawing/2014/main" id="{213BFBF6-4BA1-4FE6-AEAF-E2819B7A6528}"/>
              </a:ext>
            </a:extLst>
          </p:cNvPr>
          <p:cNvSpPr/>
          <p:nvPr/>
        </p:nvSpPr>
        <p:spPr>
          <a:xfrm>
            <a:off x="-13892" y="909670"/>
            <a:ext cx="12192000" cy="340221"/>
          </a:xfrm>
          <a:prstGeom prst="rect">
            <a:avLst/>
          </a:prstGeom>
          <a:noFill/>
        </p:spPr>
        <p:txBody>
          <a:bodyPr wrap="square">
            <a:spAutoFit/>
          </a:bodyPr>
          <a:lstStyle/>
          <a:p>
            <a:pPr marL="0" marR="0" lvl="0" indent="0" algn="ctr" defTabSz="1219170" rtl="0" eaLnBrk="1" fontAlgn="auto" latinLnBrk="0" hangingPunct="1">
              <a:lnSpc>
                <a:spcPct val="110000"/>
              </a:lnSpc>
              <a:spcBef>
                <a:spcPts val="0"/>
              </a:spcBef>
              <a:spcAft>
                <a:spcPts val="0"/>
              </a:spcAft>
              <a:buClr>
                <a:srgbClr val="000000"/>
              </a:buClr>
              <a:buSzTx/>
              <a:buFontTx/>
              <a:buNone/>
              <a:tabLst/>
              <a:defRPr/>
            </a:pPr>
            <a:r>
              <a:rPr kumimoji="0" lang="es-CO" sz="1600" b="1" i="0" u="none" strike="noStrike" kern="0" cap="none" spc="0" normalizeH="0" baseline="0" noProof="0" dirty="0">
                <a:ln>
                  <a:noFill/>
                </a:ln>
                <a:solidFill>
                  <a:srgbClr val="073763"/>
                </a:solidFill>
                <a:effectLst/>
                <a:uLnTx/>
                <a:uFillTx/>
                <a:latin typeface="Century Gothic" panose="020B0502020202020204" pitchFamily="34" charset="0"/>
                <a:ea typeface="+mn-ea"/>
                <a:cs typeface="Arial"/>
                <a:sym typeface="Arial"/>
              </a:rPr>
              <a:t>La gestión social de la ANI contiene planes, programas y acciones enfocadas a:</a:t>
            </a:r>
          </a:p>
        </p:txBody>
      </p:sp>
      <p:sp>
        <p:nvSpPr>
          <p:cNvPr id="64" name="Rectángulo 63">
            <a:extLst>
              <a:ext uri="{FF2B5EF4-FFF2-40B4-BE49-F238E27FC236}">
                <a16:creationId xmlns:a16="http://schemas.microsoft.com/office/drawing/2014/main" id="{95E7E2D4-9CE5-4E07-8A52-082890C23C2E}"/>
              </a:ext>
            </a:extLst>
          </p:cNvPr>
          <p:cNvSpPr/>
          <p:nvPr/>
        </p:nvSpPr>
        <p:spPr>
          <a:xfrm>
            <a:off x="875783" y="5193800"/>
            <a:ext cx="2534101" cy="63094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s-CO" sz="1200" b="1" kern="0" dirty="0">
                <a:solidFill>
                  <a:srgbClr val="000000"/>
                </a:solidFill>
                <a:latin typeface="Century Gothic" panose="020B0502020202020204" pitchFamily="34" charset="0"/>
                <a:cs typeface="Arial"/>
              </a:rPr>
              <a:t>71,518</a:t>
            </a: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mpleos generados en 4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117,613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mpleos</a:t>
            </a: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n total de todos los modos</a:t>
            </a:r>
          </a:p>
        </p:txBody>
      </p:sp>
      <p:sp>
        <p:nvSpPr>
          <p:cNvPr id="65" name="Rectángulo 64">
            <a:extLst>
              <a:ext uri="{FF2B5EF4-FFF2-40B4-BE49-F238E27FC236}">
                <a16:creationId xmlns:a16="http://schemas.microsoft.com/office/drawing/2014/main" id="{A4EF3029-83EE-454E-A14D-A717A5C5C611}"/>
              </a:ext>
            </a:extLst>
          </p:cNvPr>
          <p:cNvSpPr/>
          <p:nvPr/>
        </p:nvSpPr>
        <p:spPr>
          <a:xfrm>
            <a:off x="3457333" y="5029580"/>
            <a:ext cx="2348356" cy="80021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193 </a:t>
            </a:r>
            <a:r>
              <a:rPr kumimoji="0" lang="es-CO" sz="12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iniciativas y/o proyectos productivos </a:t>
            </a:r>
            <a:r>
              <a:rPr kumimoji="0" lang="es-CO" sz="110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en 4G </a:t>
            </a:r>
            <a:endParaRPr kumimoji="0" lang="es-CO" sz="1050" b="0"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rPr>
              <a:t>Inversión superior a los $580 millones</a:t>
            </a:r>
          </a:p>
        </p:txBody>
      </p:sp>
    </p:spTree>
    <p:extLst>
      <p:ext uri="{BB962C8B-B14F-4D97-AF65-F5344CB8AC3E}">
        <p14:creationId xmlns:p14="http://schemas.microsoft.com/office/powerpoint/2010/main" val="11801039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 name="Grupo 34">
            <a:extLst>
              <a:ext uri="{FF2B5EF4-FFF2-40B4-BE49-F238E27FC236}">
                <a16:creationId xmlns:a16="http://schemas.microsoft.com/office/drawing/2014/main" id="{478416AA-EE7B-4F15-9454-24F9B73B16AF}"/>
              </a:ext>
            </a:extLst>
          </p:cNvPr>
          <p:cNvGrpSpPr/>
          <p:nvPr/>
        </p:nvGrpSpPr>
        <p:grpSpPr>
          <a:xfrm>
            <a:off x="400915" y="1347629"/>
            <a:ext cx="11153773" cy="4600867"/>
            <a:chOff x="1952626" y="1643063"/>
            <a:chExt cx="8358187" cy="3900125"/>
          </a:xfrm>
        </p:grpSpPr>
        <p:sp>
          <p:nvSpPr>
            <p:cNvPr id="36" name="107 Trapecio">
              <a:extLst>
                <a:ext uri="{FF2B5EF4-FFF2-40B4-BE49-F238E27FC236}">
                  <a16:creationId xmlns:a16="http://schemas.microsoft.com/office/drawing/2014/main" id="{08674DAE-A89E-4CF3-BDF9-AD43F09ED1B4}"/>
                </a:ext>
              </a:extLst>
            </p:cNvPr>
            <p:cNvSpPr/>
            <p:nvPr/>
          </p:nvSpPr>
          <p:spPr>
            <a:xfrm rot="10800000">
              <a:off x="7970838" y="1646238"/>
              <a:ext cx="2339975" cy="3896950"/>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7" name="105 Trapecio">
              <a:extLst>
                <a:ext uri="{FF2B5EF4-FFF2-40B4-BE49-F238E27FC236}">
                  <a16:creationId xmlns:a16="http://schemas.microsoft.com/office/drawing/2014/main" id="{2803C176-A306-4C85-BF47-38E526DCCFCC}"/>
                </a:ext>
              </a:extLst>
            </p:cNvPr>
            <p:cNvSpPr/>
            <p:nvPr/>
          </p:nvSpPr>
          <p:spPr>
            <a:xfrm>
              <a:off x="5970589" y="1643063"/>
              <a:ext cx="2339975" cy="3900125"/>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8" name="104 Trapecio">
              <a:extLst>
                <a:ext uri="{FF2B5EF4-FFF2-40B4-BE49-F238E27FC236}">
                  <a16:creationId xmlns:a16="http://schemas.microsoft.com/office/drawing/2014/main" id="{65104E4C-CA24-44B8-AD4D-8B5E436644E9}"/>
                </a:ext>
              </a:extLst>
            </p:cNvPr>
            <p:cNvSpPr/>
            <p:nvPr/>
          </p:nvSpPr>
          <p:spPr>
            <a:xfrm rot="10800000">
              <a:off x="3970338" y="1646238"/>
              <a:ext cx="2339975" cy="3864888"/>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sp>
          <p:nvSpPr>
            <p:cNvPr id="39" name="103 Trapecio">
              <a:extLst>
                <a:ext uri="{FF2B5EF4-FFF2-40B4-BE49-F238E27FC236}">
                  <a16:creationId xmlns:a16="http://schemas.microsoft.com/office/drawing/2014/main" id="{4971B0AA-2B81-4741-8BBC-B2D7EB0DF7E0}"/>
                </a:ext>
              </a:extLst>
            </p:cNvPr>
            <p:cNvSpPr/>
            <p:nvPr/>
          </p:nvSpPr>
          <p:spPr>
            <a:xfrm>
              <a:off x="1952626" y="1643063"/>
              <a:ext cx="2339975" cy="3868063"/>
            </a:xfrm>
            <a:prstGeom prst="trapezoid">
              <a:avLst>
                <a:gd name="adj" fmla="val 16607"/>
              </a:avLst>
            </a:prstGeom>
            <a:solidFill>
              <a:srgbClr val="E4E4E4"/>
            </a:solidFill>
            <a:ln w="12700" cap="flat" cmpd="sng" algn="ctr">
              <a:noFill/>
              <a:prstDash val="solid"/>
              <a:miter lim="800000"/>
            </a:ln>
            <a:effectLst/>
          </p:spPr>
          <p:txBody>
            <a:bodyPr anchor="ct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white"/>
                </a:solidFill>
                <a:effectLst/>
                <a:uLnTx/>
                <a:uFillTx/>
                <a:latin typeface="Roboto Thin"/>
                <a:ea typeface="+mn-ea"/>
                <a:cs typeface="+mn-cs"/>
              </a:endParaRPr>
            </a:p>
          </p:txBody>
        </p:sp>
        <p:grpSp>
          <p:nvGrpSpPr>
            <p:cNvPr id="40" name="Grupo 1">
              <a:extLst>
                <a:ext uri="{FF2B5EF4-FFF2-40B4-BE49-F238E27FC236}">
                  <a16:creationId xmlns:a16="http://schemas.microsoft.com/office/drawing/2014/main" id="{6AF6FF8B-7F6E-4314-91E9-4EF0A02AD0EC}"/>
                </a:ext>
              </a:extLst>
            </p:cNvPr>
            <p:cNvGrpSpPr>
              <a:grpSpLocks/>
            </p:cNvGrpSpPr>
            <p:nvPr/>
          </p:nvGrpSpPr>
          <p:grpSpPr bwMode="auto">
            <a:xfrm rot="307171">
              <a:off x="2245926" y="2674125"/>
              <a:ext cx="7847871" cy="2062156"/>
              <a:chOff x="618145" y="2465599"/>
              <a:chExt cx="7848536" cy="2061983"/>
            </a:xfrm>
          </p:grpSpPr>
          <p:sp>
            <p:nvSpPr>
              <p:cNvPr id="41" name="Freeform 241">
                <a:extLst>
                  <a:ext uri="{FF2B5EF4-FFF2-40B4-BE49-F238E27FC236}">
                    <a16:creationId xmlns:a16="http://schemas.microsoft.com/office/drawing/2014/main" id="{52AEA754-6C58-4ABB-91F5-8E7D203CF8B8}"/>
                  </a:ext>
                </a:extLst>
              </p:cNvPr>
              <p:cNvSpPr>
                <a:spLocks/>
              </p:cNvSpPr>
              <p:nvPr/>
            </p:nvSpPr>
            <p:spPr bwMode="auto">
              <a:xfrm rot="3227663">
                <a:off x="880244" y="2646016"/>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FF0000"/>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2" name="Freeform 241">
                <a:extLst>
                  <a:ext uri="{FF2B5EF4-FFF2-40B4-BE49-F238E27FC236}">
                    <a16:creationId xmlns:a16="http://schemas.microsoft.com/office/drawing/2014/main" id="{5256108D-3E8E-48BF-974F-EA94B9773B79}"/>
                  </a:ext>
                </a:extLst>
              </p:cNvPr>
              <p:cNvSpPr>
                <a:spLocks/>
              </p:cNvSpPr>
              <p:nvPr/>
            </p:nvSpPr>
            <p:spPr bwMode="auto">
              <a:xfrm rot="3400525">
                <a:off x="4672020" y="2203500"/>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chemeClr val="tx1"/>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sp>
            <p:nvSpPr>
              <p:cNvPr id="43" name="Freeform 241">
                <a:extLst>
                  <a:ext uri="{FF2B5EF4-FFF2-40B4-BE49-F238E27FC236}">
                    <a16:creationId xmlns:a16="http://schemas.microsoft.com/office/drawing/2014/main" id="{229F73BB-E848-4A5F-A844-CDE2ADB45D0C}"/>
                  </a:ext>
                </a:extLst>
              </p:cNvPr>
              <p:cNvSpPr>
                <a:spLocks/>
              </p:cNvSpPr>
              <p:nvPr/>
            </p:nvSpPr>
            <p:spPr bwMode="auto">
              <a:xfrm rot="17536742" flipV="1">
                <a:off x="2792533" y="2619858"/>
                <a:ext cx="1619468"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rgbClr val="FF0000"/>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dirty="0">
                  <a:ln>
                    <a:noFill/>
                  </a:ln>
                  <a:solidFill>
                    <a:prstClr val="black"/>
                  </a:solidFill>
                  <a:effectLst/>
                  <a:uLnTx/>
                  <a:uFillTx/>
                  <a:latin typeface="Arial"/>
                  <a:ea typeface="+mn-ea"/>
                  <a:cs typeface="Arial" panose="020B0604020202020204" pitchFamily="34" charset="0"/>
                </a:endParaRPr>
              </a:p>
            </p:txBody>
          </p:sp>
          <p:sp>
            <p:nvSpPr>
              <p:cNvPr id="44" name="Freeform 241">
                <a:extLst>
                  <a:ext uri="{FF2B5EF4-FFF2-40B4-BE49-F238E27FC236}">
                    <a16:creationId xmlns:a16="http://schemas.microsoft.com/office/drawing/2014/main" id="{E4FE465A-7868-4632-8350-955251B4E737}"/>
                  </a:ext>
                </a:extLst>
              </p:cNvPr>
              <p:cNvSpPr>
                <a:spLocks/>
              </p:cNvSpPr>
              <p:nvPr/>
            </p:nvSpPr>
            <p:spPr bwMode="auto">
              <a:xfrm rot="17536742" flipV="1">
                <a:off x="6585115" y="2229055"/>
                <a:ext cx="1619467" cy="2143665"/>
              </a:xfrm>
              <a:custGeom>
                <a:avLst/>
                <a:gdLst>
                  <a:gd name="T0" fmla="*/ 0 w 741"/>
                  <a:gd name="T1" fmla="*/ 2147483646 h 975"/>
                  <a:gd name="T2" fmla="*/ 2147483646 w 741"/>
                  <a:gd name="T3" fmla="*/ 2147483646 h 975"/>
                  <a:gd name="T4" fmla="*/ 2147483646 w 741"/>
                  <a:gd name="T5" fmla="*/ 2147483646 h 975"/>
                  <a:gd name="T6" fmla="*/ 2147483646 w 741"/>
                  <a:gd name="T7" fmla="*/ 2147483646 h 975"/>
                  <a:gd name="T8" fmla="*/ 2147483646 w 741"/>
                  <a:gd name="T9" fmla="*/ 2147483646 h 975"/>
                  <a:gd name="T10" fmla="*/ 2147483646 w 741"/>
                  <a:gd name="T11" fmla="*/ 2147483646 h 975"/>
                  <a:gd name="T12" fmla="*/ 2147483646 w 741"/>
                  <a:gd name="T13" fmla="*/ 2147483646 h 975"/>
                  <a:gd name="T14" fmla="*/ 2147483646 w 741"/>
                  <a:gd name="T15" fmla="*/ 2147483646 h 975"/>
                  <a:gd name="T16" fmla="*/ 2147483646 w 741"/>
                  <a:gd name="T17" fmla="*/ 2147483646 h 975"/>
                  <a:gd name="T18" fmla="*/ 2147483646 w 741"/>
                  <a:gd name="T19" fmla="*/ 2147483646 h 975"/>
                  <a:gd name="T20" fmla="*/ 2147483646 w 741"/>
                  <a:gd name="T21" fmla="*/ 2147483646 h 975"/>
                  <a:gd name="T22" fmla="*/ 2147483646 w 741"/>
                  <a:gd name="T23" fmla="*/ 2147483646 h 975"/>
                  <a:gd name="T24" fmla="*/ 2147483646 w 741"/>
                  <a:gd name="T25" fmla="*/ 2147483646 h 975"/>
                  <a:gd name="T26" fmla="*/ 2147483646 w 741"/>
                  <a:gd name="T27" fmla="*/ 2147483646 h 975"/>
                  <a:gd name="T28" fmla="*/ 2147483646 w 741"/>
                  <a:gd name="T29" fmla="*/ 2147483646 h 975"/>
                  <a:gd name="T30" fmla="*/ 2147483646 w 741"/>
                  <a:gd name="T31" fmla="*/ 2147483646 h 975"/>
                  <a:gd name="T32" fmla="*/ 2147483646 w 741"/>
                  <a:gd name="T33" fmla="*/ 2147483646 h 975"/>
                  <a:gd name="T34" fmla="*/ 2147483646 w 741"/>
                  <a:gd name="T35" fmla="*/ 2147483646 h 975"/>
                  <a:gd name="T36" fmla="*/ 2147483646 w 741"/>
                  <a:gd name="T37" fmla="*/ 2147483646 h 975"/>
                  <a:gd name="T38" fmla="*/ 2147483646 w 741"/>
                  <a:gd name="T39" fmla="*/ 2147483646 h 975"/>
                  <a:gd name="T40" fmla="*/ 2147483646 w 741"/>
                  <a:gd name="T41" fmla="*/ 2147483646 h 975"/>
                  <a:gd name="T42" fmla="*/ 2147483646 w 741"/>
                  <a:gd name="T43" fmla="*/ 2147483646 h 975"/>
                  <a:gd name="T44" fmla="*/ 2147483646 w 741"/>
                  <a:gd name="T45" fmla="*/ 2147483646 h 975"/>
                  <a:gd name="T46" fmla="*/ 2147483646 w 741"/>
                  <a:gd name="T47" fmla="*/ 2147483646 h 975"/>
                  <a:gd name="T48" fmla="*/ 2147483646 w 741"/>
                  <a:gd name="T49" fmla="*/ 2147483646 h 975"/>
                  <a:gd name="T50" fmla="*/ 2147483646 w 741"/>
                  <a:gd name="T51" fmla="*/ 2147483646 h 975"/>
                  <a:gd name="T52" fmla="*/ 2147483646 w 741"/>
                  <a:gd name="T53" fmla="*/ 2147483646 h 975"/>
                  <a:gd name="T54" fmla="*/ 2147483646 w 741"/>
                  <a:gd name="T55" fmla="*/ 2147483646 h 975"/>
                  <a:gd name="T56" fmla="*/ 2147483646 w 741"/>
                  <a:gd name="T57" fmla="*/ 2147483646 h 975"/>
                  <a:gd name="T58" fmla="*/ 2147483646 w 741"/>
                  <a:gd name="T59" fmla="*/ 2147483646 h 975"/>
                  <a:gd name="T60" fmla="*/ 2147483646 w 741"/>
                  <a:gd name="T61" fmla="*/ 2147483646 h 975"/>
                  <a:gd name="T62" fmla="*/ 2147483646 w 741"/>
                  <a:gd name="T63" fmla="*/ 0 h 975"/>
                  <a:gd name="T64" fmla="*/ 2147483646 w 741"/>
                  <a:gd name="T65" fmla="*/ 2147483646 h 975"/>
                  <a:gd name="T66" fmla="*/ 2147483646 w 741"/>
                  <a:gd name="T67" fmla="*/ 2147483646 h 975"/>
                  <a:gd name="T68" fmla="*/ 2147483646 w 741"/>
                  <a:gd name="T69" fmla="*/ 2147483646 h 975"/>
                  <a:gd name="T70" fmla="*/ 2147483646 w 741"/>
                  <a:gd name="T71" fmla="*/ 2147483646 h 975"/>
                  <a:gd name="T72" fmla="*/ 2147483646 w 741"/>
                  <a:gd name="T73" fmla="*/ 2147483646 h 975"/>
                  <a:gd name="T74" fmla="*/ 2147483646 w 741"/>
                  <a:gd name="T75" fmla="*/ 2147483646 h 975"/>
                  <a:gd name="T76" fmla="*/ 2147483646 w 741"/>
                  <a:gd name="T77" fmla="*/ 2147483646 h 975"/>
                  <a:gd name="T78" fmla="*/ 2147483646 w 741"/>
                  <a:gd name="T79" fmla="*/ 2147483646 h 975"/>
                  <a:gd name="T80" fmla="*/ 2147483646 w 741"/>
                  <a:gd name="T81" fmla="*/ 2147483646 h 975"/>
                  <a:gd name="T82" fmla="*/ 2147483646 w 741"/>
                  <a:gd name="T83" fmla="*/ 2147483646 h 975"/>
                  <a:gd name="T84" fmla="*/ 2147483646 w 741"/>
                  <a:gd name="T85" fmla="*/ 2147483646 h 975"/>
                  <a:gd name="T86" fmla="*/ 2147483646 w 741"/>
                  <a:gd name="T87" fmla="*/ 2147483646 h 975"/>
                  <a:gd name="T88" fmla="*/ 2147483646 w 741"/>
                  <a:gd name="T89" fmla="*/ 2147483646 h 975"/>
                  <a:gd name="T90" fmla="*/ 2147483646 w 741"/>
                  <a:gd name="T91" fmla="*/ 2147483646 h 975"/>
                  <a:gd name="T92" fmla="*/ 2147483646 w 741"/>
                  <a:gd name="T93" fmla="*/ 2147483646 h 975"/>
                  <a:gd name="T94" fmla="*/ 0 w 741"/>
                  <a:gd name="T95" fmla="*/ 2147483646 h 97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741"/>
                  <a:gd name="T145" fmla="*/ 0 h 975"/>
                  <a:gd name="T146" fmla="*/ 741 w 741"/>
                  <a:gd name="T147" fmla="*/ 975 h 97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741" h="975">
                    <a:moveTo>
                      <a:pt x="0" y="637"/>
                    </a:moveTo>
                    <a:lnTo>
                      <a:pt x="0" y="637"/>
                    </a:lnTo>
                    <a:lnTo>
                      <a:pt x="0" y="660"/>
                    </a:lnTo>
                    <a:lnTo>
                      <a:pt x="1" y="684"/>
                    </a:lnTo>
                    <a:lnTo>
                      <a:pt x="4" y="706"/>
                    </a:lnTo>
                    <a:lnTo>
                      <a:pt x="6" y="729"/>
                    </a:lnTo>
                    <a:lnTo>
                      <a:pt x="10" y="751"/>
                    </a:lnTo>
                    <a:lnTo>
                      <a:pt x="14" y="773"/>
                    </a:lnTo>
                    <a:lnTo>
                      <a:pt x="19" y="795"/>
                    </a:lnTo>
                    <a:lnTo>
                      <a:pt x="26" y="816"/>
                    </a:lnTo>
                    <a:lnTo>
                      <a:pt x="32" y="837"/>
                    </a:lnTo>
                    <a:lnTo>
                      <a:pt x="40" y="857"/>
                    </a:lnTo>
                    <a:lnTo>
                      <a:pt x="57" y="899"/>
                    </a:lnTo>
                    <a:lnTo>
                      <a:pt x="76" y="938"/>
                    </a:lnTo>
                    <a:lnTo>
                      <a:pt x="98" y="975"/>
                    </a:lnTo>
                    <a:lnTo>
                      <a:pt x="123" y="779"/>
                    </a:lnTo>
                    <a:lnTo>
                      <a:pt x="284" y="809"/>
                    </a:lnTo>
                    <a:lnTo>
                      <a:pt x="275" y="790"/>
                    </a:lnTo>
                    <a:lnTo>
                      <a:pt x="267" y="769"/>
                    </a:lnTo>
                    <a:lnTo>
                      <a:pt x="260" y="748"/>
                    </a:lnTo>
                    <a:lnTo>
                      <a:pt x="255" y="728"/>
                    </a:lnTo>
                    <a:lnTo>
                      <a:pt x="250" y="706"/>
                    </a:lnTo>
                    <a:lnTo>
                      <a:pt x="247" y="682"/>
                    </a:lnTo>
                    <a:lnTo>
                      <a:pt x="245" y="660"/>
                    </a:lnTo>
                    <a:lnTo>
                      <a:pt x="245" y="637"/>
                    </a:lnTo>
                    <a:lnTo>
                      <a:pt x="245" y="617"/>
                    </a:lnTo>
                    <a:lnTo>
                      <a:pt x="246" y="599"/>
                    </a:lnTo>
                    <a:lnTo>
                      <a:pt x="249" y="580"/>
                    </a:lnTo>
                    <a:lnTo>
                      <a:pt x="251" y="562"/>
                    </a:lnTo>
                    <a:lnTo>
                      <a:pt x="255" y="544"/>
                    </a:lnTo>
                    <a:lnTo>
                      <a:pt x="260" y="527"/>
                    </a:lnTo>
                    <a:lnTo>
                      <a:pt x="266" y="509"/>
                    </a:lnTo>
                    <a:lnTo>
                      <a:pt x="272" y="492"/>
                    </a:lnTo>
                    <a:lnTo>
                      <a:pt x="279" y="475"/>
                    </a:lnTo>
                    <a:lnTo>
                      <a:pt x="286" y="459"/>
                    </a:lnTo>
                    <a:lnTo>
                      <a:pt x="295" y="444"/>
                    </a:lnTo>
                    <a:lnTo>
                      <a:pt x="305" y="428"/>
                    </a:lnTo>
                    <a:lnTo>
                      <a:pt x="315" y="413"/>
                    </a:lnTo>
                    <a:lnTo>
                      <a:pt x="325" y="398"/>
                    </a:lnTo>
                    <a:lnTo>
                      <a:pt x="337" y="384"/>
                    </a:lnTo>
                    <a:lnTo>
                      <a:pt x="349" y="371"/>
                    </a:lnTo>
                    <a:lnTo>
                      <a:pt x="360" y="358"/>
                    </a:lnTo>
                    <a:lnTo>
                      <a:pt x="373" y="346"/>
                    </a:lnTo>
                    <a:lnTo>
                      <a:pt x="387" y="335"/>
                    </a:lnTo>
                    <a:lnTo>
                      <a:pt x="400" y="323"/>
                    </a:lnTo>
                    <a:lnTo>
                      <a:pt x="416" y="313"/>
                    </a:lnTo>
                    <a:lnTo>
                      <a:pt x="430" y="302"/>
                    </a:lnTo>
                    <a:lnTo>
                      <a:pt x="446" y="293"/>
                    </a:lnTo>
                    <a:lnTo>
                      <a:pt x="463" y="286"/>
                    </a:lnTo>
                    <a:lnTo>
                      <a:pt x="478" y="278"/>
                    </a:lnTo>
                    <a:lnTo>
                      <a:pt x="495" y="270"/>
                    </a:lnTo>
                    <a:lnTo>
                      <a:pt x="512" y="263"/>
                    </a:lnTo>
                    <a:lnTo>
                      <a:pt x="530" y="258"/>
                    </a:lnTo>
                    <a:lnTo>
                      <a:pt x="548" y="253"/>
                    </a:lnTo>
                    <a:lnTo>
                      <a:pt x="566" y="249"/>
                    </a:lnTo>
                    <a:lnTo>
                      <a:pt x="585" y="247"/>
                    </a:lnTo>
                    <a:lnTo>
                      <a:pt x="603" y="244"/>
                    </a:lnTo>
                    <a:lnTo>
                      <a:pt x="607" y="241"/>
                    </a:lnTo>
                    <a:lnTo>
                      <a:pt x="605" y="241"/>
                    </a:lnTo>
                    <a:lnTo>
                      <a:pt x="741" y="125"/>
                    </a:lnTo>
                    <a:lnTo>
                      <a:pt x="621" y="0"/>
                    </a:lnTo>
                    <a:lnTo>
                      <a:pt x="588" y="3"/>
                    </a:lnTo>
                    <a:lnTo>
                      <a:pt x="556" y="5"/>
                    </a:lnTo>
                    <a:lnTo>
                      <a:pt x="525" y="11"/>
                    </a:lnTo>
                    <a:lnTo>
                      <a:pt x="495" y="17"/>
                    </a:lnTo>
                    <a:lnTo>
                      <a:pt x="464" y="25"/>
                    </a:lnTo>
                    <a:lnTo>
                      <a:pt x="435" y="34"/>
                    </a:lnTo>
                    <a:lnTo>
                      <a:pt x="406" y="44"/>
                    </a:lnTo>
                    <a:lnTo>
                      <a:pt x="378" y="56"/>
                    </a:lnTo>
                    <a:lnTo>
                      <a:pt x="350" y="70"/>
                    </a:lnTo>
                    <a:lnTo>
                      <a:pt x="324" y="85"/>
                    </a:lnTo>
                    <a:lnTo>
                      <a:pt x="298" y="100"/>
                    </a:lnTo>
                    <a:lnTo>
                      <a:pt x="272" y="117"/>
                    </a:lnTo>
                    <a:lnTo>
                      <a:pt x="249" y="134"/>
                    </a:lnTo>
                    <a:lnTo>
                      <a:pt x="224" y="153"/>
                    </a:lnTo>
                    <a:lnTo>
                      <a:pt x="202" y="173"/>
                    </a:lnTo>
                    <a:lnTo>
                      <a:pt x="181" y="195"/>
                    </a:lnTo>
                    <a:lnTo>
                      <a:pt x="161" y="217"/>
                    </a:lnTo>
                    <a:lnTo>
                      <a:pt x="141" y="239"/>
                    </a:lnTo>
                    <a:lnTo>
                      <a:pt x="123" y="263"/>
                    </a:lnTo>
                    <a:lnTo>
                      <a:pt x="105" y="288"/>
                    </a:lnTo>
                    <a:lnTo>
                      <a:pt x="89" y="313"/>
                    </a:lnTo>
                    <a:lnTo>
                      <a:pt x="74" y="340"/>
                    </a:lnTo>
                    <a:lnTo>
                      <a:pt x="61" y="366"/>
                    </a:lnTo>
                    <a:lnTo>
                      <a:pt x="48" y="394"/>
                    </a:lnTo>
                    <a:lnTo>
                      <a:pt x="37" y="423"/>
                    </a:lnTo>
                    <a:lnTo>
                      <a:pt x="27" y="451"/>
                    </a:lnTo>
                    <a:lnTo>
                      <a:pt x="19" y="481"/>
                    </a:lnTo>
                    <a:lnTo>
                      <a:pt x="13" y="511"/>
                    </a:lnTo>
                    <a:lnTo>
                      <a:pt x="6" y="542"/>
                    </a:lnTo>
                    <a:lnTo>
                      <a:pt x="2" y="573"/>
                    </a:lnTo>
                    <a:lnTo>
                      <a:pt x="1" y="604"/>
                    </a:lnTo>
                    <a:lnTo>
                      <a:pt x="0" y="637"/>
                    </a:lnTo>
                    <a:close/>
                  </a:path>
                </a:pathLst>
              </a:custGeom>
              <a:solidFill>
                <a:schemeClr val="tx1"/>
              </a:solidFill>
              <a:ln>
                <a:noFill/>
              </a:ln>
              <a:extLst>
                <a:ext uri="{91240B29-F687-4F45-9708-019B960494DF}">
                  <a14:hiddenLine xmlns:a14="http://schemas.microsoft.com/office/drawing/2010/main" w="19050">
                    <a:solidFill>
                      <a:srgbClr val="000000"/>
                    </a:solidFill>
                    <a:round/>
                    <a:headEnd/>
                    <a:tailEnd/>
                  </a14:hiddenLine>
                </a:ext>
              </a:extLst>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endParaRPr kumimoji="0" lang="es-ES" sz="1800" b="0" i="0" u="none" strike="noStrike" kern="0" cap="none" spc="0" normalizeH="0" baseline="0" noProof="0">
                  <a:ln>
                    <a:noFill/>
                  </a:ln>
                  <a:solidFill>
                    <a:prstClr val="black"/>
                  </a:solidFill>
                  <a:effectLst/>
                  <a:uLnTx/>
                  <a:uFillTx/>
                  <a:latin typeface="Arial"/>
                  <a:ea typeface="+mn-ea"/>
                  <a:cs typeface="Arial" panose="020B0604020202020204" pitchFamily="34" charset="0"/>
                </a:endParaRPr>
              </a:p>
            </p:txBody>
          </p:sp>
        </p:grpSp>
      </p:grpSp>
      <p:pic>
        <p:nvPicPr>
          <p:cNvPr id="45" name="Imagen 44">
            <a:extLst>
              <a:ext uri="{FF2B5EF4-FFF2-40B4-BE49-F238E27FC236}">
                <a16:creationId xmlns:a16="http://schemas.microsoft.com/office/drawing/2014/main" id="{C63209E5-0501-426A-8202-C6A8F503AE8B}"/>
              </a:ext>
            </a:extLst>
          </p:cNvPr>
          <p:cNvPicPr>
            <a:picLocks noChangeAspect="1"/>
          </p:cNvPicPr>
          <p:nvPr/>
        </p:nvPicPr>
        <p:blipFill>
          <a:blip r:embed="rId2"/>
          <a:stretch>
            <a:fillRect/>
          </a:stretch>
        </p:blipFill>
        <p:spPr>
          <a:xfrm>
            <a:off x="1761943" y="3854110"/>
            <a:ext cx="1054092" cy="1054092"/>
          </a:xfrm>
          <a:prstGeom prst="rect">
            <a:avLst/>
          </a:prstGeom>
        </p:spPr>
      </p:pic>
      <p:sp>
        <p:nvSpPr>
          <p:cNvPr id="46" name="Rectángulo 45">
            <a:extLst>
              <a:ext uri="{FF2B5EF4-FFF2-40B4-BE49-F238E27FC236}">
                <a16:creationId xmlns:a16="http://schemas.microsoft.com/office/drawing/2014/main" id="{4221593A-321A-4DD6-BB69-D48F5EEF90D9}"/>
              </a:ext>
            </a:extLst>
          </p:cNvPr>
          <p:cNvSpPr/>
          <p:nvPr/>
        </p:nvSpPr>
        <p:spPr>
          <a:xfrm>
            <a:off x="907342" y="2068294"/>
            <a:ext cx="5153809" cy="635687"/>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rPr>
              <a:t>Garantizar el derecho a la vivienda digna de las unidades sociales ubicadas en las áreas de  terreno requeridas para los proyectos. </a:t>
            </a:r>
          </a:p>
          <a:p>
            <a:pPr marL="0" marR="0" lvl="0" indent="0" algn="ctr" defTabSz="914400" rtl="0" eaLnBrk="1" fontAlgn="auto" latinLnBrk="0" hangingPunct="1">
              <a:lnSpc>
                <a:spcPct val="110000"/>
              </a:lnSpc>
              <a:spcBef>
                <a:spcPts val="0"/>
              </a:spcBef>
              <a:spcAft>
                <a:spcPts val="0"/>
              </a:spcAft>
              <a:buClrTx/>
              <a:buSzTx/>
              <a:buFontTx/>
              <a:buNone/>
              <a:tabLst/>
              <a:defRPr/>
            </a:pPr>
            <a:endParaRPr kumimoji="0" lang="es-CO" sz="1100" b="0" i="0" u="none" strike="noStrike" kern="1200" cap="none" spc="0" normalizeH="0" baseline="0" noProof="0" dirty="0">
              <a:ln>
                <a:noFill/>
              </a:ln>
              <a:solidFill>
                <a:srgbClr val="010407"/>
              </a:solidFill>
              <a:effectLst/>
              <a:uLnTx/>
              <a:uFillTx/>
              <a:latin typeface="Century Gothic" panose="020B0502020202020204" pitchFamily="34" charset="0"/>
              <a:ea typeface="+mn-ea"/>
              <a:cs typeface="+mn-cs"/>
            </a:endParaRPr>
          </a:p>
        </p:txBody>
      </p:sp>
      <p:sp>
        <p:nvSpPr>
          <p:cNvPr id="47" name="CuadroTexto 46">
            <a:extLst>
              <a:ext uri="{FF2B5EF4-FFF2-40B4-BE49-F238E27FC236}">
                <a16:creationId xmlns:a16="http://schemas.microsoft.com/office/drawing/2014/main" id="{ABD5C628-54C4-4574-BE04-E922181E6A83}"/>
              </a:ext>
            </a:extLst>
          </p:cNvPr>
          <p:cNvSpPr txBox="1"/>
          <p:nvPr/>
        </p:nvSpPr>
        <p:spPr>
          <a:xfrm>
            <a:off x="918673" y="1365894"/>
            <a:ext cx="2076748" cy="49244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RECHO A VIVIENDA DIGNA </a:t>
            </a:r>
          </a:p>
        </p:txBody>
      </p:sp>
      <p:sp>
        <p:nvSpPr>
          <p:cNvPr id="53" name="Rectángulo 52">
            <a:extLst>
              <a:ext uri="{FF2B5EF4-FFF2-40B4-BE49-F238E27FC236}">
                <a16:creationId xmlns:a16="http://schemas.microsoft.com/office/drawing/2014/main" id="{FAE5E3B5-0991-4514-BC23-C403EB56874F}"/>
              </a:ext>
            </a:extLst>
          </p:cNvPr>
          <p:cNvSpPr/>
          <p:nvPr/>
        </p:nvSpPr>
        <p:spPr>
          <a:xfrm>
            <a:off x="8508571" y="2046506"/>
            <a:ext cx="2866715" cy="44948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omover la participación comunitaria y el control social </a:t>
            </a:r>
          </a:p>
        </p:txBody>
      </p:sp>
      <p:sp>
        <p:nvSpPr>
          <p:cNvPr id="57" name="Rectángulo 56">
            <a:extLst>
              <a:ext uri="{FF2B5EF4-FFF2-40B4-BE49-F238E27FC236}">
                <a16:creationId xmlns:a16="http://schemas.microsoft.com/office/drawing/2014/main" id="{28F1B8F1-789D-4C8D-9B05-7AB319506EB8}"/>
              </a:ext>
            </a:extLst>
          </p:cNvPr>
          <p:cNvSpPr/>
          <p:nvPr/>
        </p:nvSpPr>
        <p:spPr>
          <a:xfrm>
            <a:off x="6130850" y="1942848"/>
            <a:ext cx="2401596" cy="82189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Brindar atención oportuna a los usuarios y comunidades a través de oficinas fijas, móviles y medios electrónicos.</a:t>
            </a:r>
          </a:p>
        </p:txBody>
      </p:sp>
      <p:sp>
        <p:nvSpPr>
          <p:cNvPr id="58" name="CuadroTexto 57">
            <a:extLst>
              <a:ext uri="{FF2B5EF4-FFF2-40B4-BE49-F238E27FC236}">
                <a16:creationId xmlns:a16="http://schemas.microsoft.com/office/drawing/2014/main" id="{5AB5CB09-A6C0-4B51-B36A-27AED6F50006}"/>
              </a:ext>
            </a:extLst>
          </p:cNvPr>
          <p:cNvSpPr txBox="1"/>
          <p:nvPr/>
        </p:nvSpPr>
        <p:spPr>
          <a:xfrm>
            <a:off x="6256485" y="1351366"/>
            <a:ext cx="2125515" cy="492443"/>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PARTICIPACIÓN</a:t>
            </a:r>
          </a:p>
        </p:txBody>
      </p:sp>
      <p:sp>
        <p:nvSpPr>
          <p:cNvPr id="59" name="Rectángulo 58">
            <a:extLst>
              <a:ext uri="{FF2B5EF4-FFF2-40B4-BE49-F238E27FC236}">
                <a16:creationId xmlns:a16="http://schemas.microsoft.com/office/drawing/2014/main" id="{578B5190-774F-434E-ABC0-077D506920BB}"/>
              </a:ext>
            </a:extLst>
          </p:cNvPr>
          <p:cNvSpPr/>
          <p:nvPr/>
        </p:nvSpPr>
        <p:spPr>
          <a:xfrm>
            <a:off x="5926655" y="5108776"/>
            <a:ext cx="2866715" cy="261610"/>
          </a:xfrm>
          <a:prstGeom prst="rect">
            <a:avLst/>
          </a:prstGeom>
        </p:spPr>
        <p:txBody>
          <a:bodyPr wrap="square">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US" sz="1100" b="1" i="0" u="none" strike="noStrike" kern="0" cap="none" spc="0" normalizeH="0" baseline="0" noProof="0" dirty="0">
              <a:ln>
                <a:noFill/>
              </a:ln>
              <a:solidFill>
                <a:srgbClr val="000000"/>
              </a:solidFill>
              <a:effectLst/>
              <a:uLnTx/>
              <a:uFillTx/>
              <a:latin typeface="Century Gothic" panose="020B0502020202020204" pitchFamily="34" charset="0"/>
              <a:ea typeface="+mn-ea"/>
              <a:cs typeface="Arial"/>
              <a:sym typeface="Arial"/>
            </a:endParaRPr>
          </a:p>
        </p:txBody>
      </p:sp>
      <p:sp>
        <p:nvSpPr>
          <p:cNvPr id="60" name="Rectángulo 59">
            <a:extLst>
              <a:ext uri="{FF2B5EF4-FFF2-40B4-BE49-F238E27FC236}">
                <a16:creationId xmlns:a16="http://schemas.microsoft.com/office/drawing/2014/main" id="{78133051-A36F-4BBF-A062-5E038B5ABFCB}"/>
              </a:ext>
            </a:extLst>
          </p:cNvPr>
          <p:cNvSpPr/>
          <p:nvPr/>
        </p:nvSpPr>
        <p:spPr>
          <a:xfrm>
            <a:off x="5921045" y="4901415"/>
            <a:ext cx="2798402" cy="800219"/>
          </a:xfrm>
          <a:prstGeom prst="rect">
            <a:avLst/>
          </a:prstGeom>
        </p:spPr>
        <p:txBody>
          <a:bodyPr wrap="square">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87 oficinas fijas y satélites y, 59 oficinas móviles de </a:t>
            </a:r>
            <a:r>
              <a:rPr kumimoji="0" lang="es-CO" sz="12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los proyectos 4G</a:t>
            </a:r>
          </a:p>
          <a:p>
            <a:pPr marL="0" marR="0" lvl="0" indent="0" algn="ctr" defTabSz="6858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0" normalizeH="0" baseline="0" noProof="0" dirty="0">
                <a:ln>
                  <a:noFill/>
                </a:ln>
                <a:solidFill>
                  <a:srgbClr val="222222"/>
                </a:solidFill>
                <a:effectLst/>
                <a:uLnTx/>
                <a:uFillTx/>
                <a:latin typeface="Century Gothic" panose="020B0502020202020204" pitchFamily="34" charset="0"/>
                <a:ea typeface="+mn-ea"/>
                <a:cs typeface="Arial" panose="020B0604020202020204" pitchFamily="34" charset="0"/>
                <a:sym typeface="Arial"/>
              </a:rPr>
              <a:t>28.756 usuarios atendidos </a:t>
            </a:r>
            <a:r>
              <a:rPr kumimoji="0" lang="es-CO"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rPr>
              <a:t>en los sistemas de atención. </a:t>
            </a:r>
            <a:endParaRPr kumimoji="0" lang="en-US" sz="110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Arial" panose="020B0604020202020204" pitchFamily="34" charset="0"/>
              <a:sym typeface="Arial"/>
            </a:endParaRPr>
          </a:p>
        </p:txBody>
      </p:sp>
      <p:pic>
        <p:nvPicPr>
          <p:cNvPr id="28" name="Picture 24" descr="Resultado de imagen para ods 17 alianzas para lograr los objetivos">
            <a:extLst>
              <a:ext uri="{FF2B5EF4-FFF2-40B4-BE49-F238E27FC236}">
                <a16:creationId xmlns:a16="http://schemas.microsoft.com/office/drawing/2014/main" id="{EC9D811A-4DB1-4B4F-9A2E-5E90801D654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11" t="5793" r="5011" b="5793"/>
          <a:stretch/>
        </p:blipFill>
        <p:spPr bwMode="auto">
          <a:xfrm>
            <a:off x="9296270" y="2679861"/>
            <a:ext cx="1133744" cy="1114046"/>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4" descr="Resultado de imagen para ods 17 alianzas para lograr los objetivos">
            <a:extLst>
              <a:ext uri="{FF2B5EF4-FFF2-40B4-BE49-F238E27FC236}">
                <a16:creationId xmlns:a16="http://schemas.microsoft.com/office/drawing/2014/main" id="{FE0C0CE3-345D-46CA-AC52-E097D163FD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11" t="5793" r="5011" b="5793"/>
          <a:stretch/>
        </p:blipFill>
        <p:spPr bwMode="auto">
          <a:xfrm>
            <a:off x="6802212" y="3683470"/>
            <a:ext cx="1133744" cy="1114046"/>
          </a:xfrm>
          <a:prstGeom prst="rect">
            <a:avLst/>
          </a:prstGeom>
          <a:noFill/>
          <a:extLst>
            <a:ext uri="{909E8E84-426E-40DD-AFC4-6F175D3DCCD1}">
              <a14:hiddenFill xmlns:a14="http://schemas.microsoft.com/office/drawing/2010/main">
                <a:solidFill>
                  <a:srgbClr val="FFFFFF"/>
                </a:solidFill>
              </a14:hiddenFill>
            </a:ext>
          </a:extLst>
        </p:spPr>
      </p:pic>
      <p:pic>
        <p:nvPicPr>
          <p:cNvPr id="30" name="Imagen 29">
            <a:extLst>
              <a:ext uri="{FF2B5EF4-FFF2-40B4-BE49-F238E27FC236}">
                <a16:creationId xmlns:a16="http://schemas.microsoft.com/office/drawing/2014/main" id="{A05DD93A-276F-40A6-BECA-8FE573B8D0AC}"/>
              </a:ext>
            </a:extLst>
          </p:cNvPr>
          <p:cNvPicPr>
            <a:picLocks noChangeAspect="1"/>
          </p:cNvPicPr>
          <p:nvPr/>
        </p:nvPicPr>
        <p:blipFill>
          <a:blip r:embed="rId2"/>
          <a:stretch>
            <a:fillRect/>
          </a:stretch>
        </p:blipFill>
        <p:spPr>
          <a:xfrm>
            <a:off x="4155967" y="2650104"/>
            <a:ext cx="1054092" cy="1054092"/>
          </a:xfrm>
          <a:prstGeom prst="rect">
            <a:avLst/>
          </a:prstGeom>
        </p:spPr>
      </p:pic>
      <p:sp>
        <p:nvSpPr>
          <p:cNvPr id="31" name="CuadroTexto 30">
            <a:extLst>
              <a:ext uri="{FF2B5EF4-FFF2-40B4-BE49-F238E27FC236}">
                <a16:creationId xmlns:a16="http://schemas.microsoft.com/office/drawing/2014/main" id="{85A93634-9079-4A42-A001-2944BB56A5DE}"/>
              </a:ext>
            </a:extLst>
          </p:cNvPr>
          <p:cNvSpPr txBox="1"/>
          <p:nvPr/>
        </p:nvSpPr>
        <p:spPr>
          <a:xfrm>
            <a:off x="3117592" y="1379162"/>
            <a:ext cx="3075233" cy="492443"/>
          </a:xfrm>
          <a:prstGeom prst="rect">
            <a:avLst/>
          </a:prstGeom>
          <a:solidFill>
            <a:schemeClr val="tx1"/>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DERECHO A VIVIEND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 DIGNA </a:t>
            </a:r>
          </a:p>
        </p:txBody>
      </p:sp>
      <p:sp>
        <p:nvSpPr>
          <p:cNvPr id="32" name="CuadroTexto 31">
            <a:extLst>
              <a:ext uri="{FF2B5EF4-FFF2-40B4-BE49-F238E27FC236}">
                <a16:creationId xmlns:a16="http://schemas.microsoft.com/office/drawing/2014/main" id="{77A7E090-214B-43A0-BB37-9FBF7E454F98}"/>
              </a:ext>
            </a:extLst>
          </p:cNvPr>
          <p:cNvSpPr txBox="1"/>
          <p:nvPr/>
        </p:nvSpPr>
        <p:spPr>
          <a:xfrm>
            <a:off x="8453954" y="1368661"/>
            <a:ext cx="3100734" cy="492443"/>
          </a:xfrm>
          <a:prstGeom prst="rect">
            <a:avLst/>
          </a:prstGeom>
          <a:solidFill>
            <a:schemeClr val="tx1"/>
          </a:solidFill>
        </p:spPr>
        <p:txBody>
          <a:bodyPr wrap="square" rtlCol="0">
            <a:spAutoFit/>
          </a:bodyPr>
          <a:lstStyle>
            <a:defPPr>
              <a:defRPr lang="es-ES_tradnl"/>
            </a:defPPr>
            <a:lvl1pPr algn="ctr">
              <a:defRPr sz="1400" b="1">
                <a:solidFill>
                  <a:srgbClr val="010407"/>
                </a:solidFill>
                <a:latin typeface="Century Gothic" panose="020B0502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DERECHO A L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300" b="1" i="0" u="none" strike="noStrike" kern="0" cap="none" spc="0" normalizeH="0" baseline="0" noProof="0" dirty="0">
                <a:ln>
                  <a:noFill/>
                </a:ln>
                <a:solidFill>
                  <a:prstClr val="white"/>
                </a:solidFill>
                <a:effectLst/>
                <a:uLnTx/>
                <a:uFillTx/>
                <a:latin typeface="Century Gothic" panose="020B0502020202020204" pitchFamily="34" charset="0"/>
                <a:ea typeface="+mn-ea"/>
                <a:cs typeface="+mn-cs"/>
              </a:rPr>
              <a:t>PARTICIPACIÓN</a:t>
            </a:r>
          </a:p>
        </p:txBody>
      </p:sp>
      <p:sp>
        <p:nvSpPr>
          <p:cNvPr id="34" name="Rectángulo 33">
            <a:extLst>
              <a:ext uri="{FF2B5EF4-FFF2-40B4-BE49-F238E27FC236}">
                <a16:creationId xmlns:a16="http://schemas.microsoft.com/office/drawing/2014/main" id="{C9C4D03F-EBF3-43AD-A18A-0C1C97FB9A8B}"/>
              </a:ext>
            </a:extLst>
          </p:cNvPr>
          <p:cNvSpPr/>
          <p:nvPr/>
        </p:nvSpPr>
        <p:spPr>
          <a:xfrm>
            <a:off x="8918647" y="4917935"/>
            <a:ext cx="2182688" cy="6001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1.522  Socializaciones</a:t>
            </a:r>
            <a:r>
              <a:rPr kumimoji="0" lang="es-CO" sz="1200" b="1"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 </a:t>
            </a:r>
            <a:r>
              <a:rPr kumimoji="0" lang="es-CO" sz="105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rPr>
              <a:t>con comunidades realizadas en proyectos 4G</a:t>
            </a:r>
            <a:endParaRPr kumimoji="0" lang="en-US" sz="1050" b="0" i="0" u="none" strike="noStrike" kern="1200" cap="none" spc="0" normalizeH="0" baseline="0" noProof="0" dirty="0">
              <a:ln>
                <a:noFill/>
              </a:ln>
              <a:solidFill>
                <a:prstClr val="black">
                  <a:lumMod val="95000"/>
                  <a:lumOff val="5000"/>
                </a:prstClr>
              </a:solidFill>
              <a:effectLst/>
              <a:uLnTx/>
              <a:uFillTx/>
              <a:latin typeface="Century Gothic" panose="020B0502020202020204" pitchFamily="34" charset="0"/>
              <a:ea typeface="+mn-ea"/>
              <a:cs typeface="+mn-cs"/>
            </a:endParaRPr>
          </a:p>
        </p:txBody>
      </p:sp>
      <p:sp>
        <p:nvSpPr>
          <p:cNvPr id="62" name="Rectángulo 61">
            <a:extLst>
              <a:ext uri="{FF2B5EF4-FFF2-40B4-BE49-F238E27FC236}">
                <a16:creationId xmlns:a16="http://schemas.microsoft.com/office/drawing/2014/main" id="{015865B5-176A-4EE8-A790-7CAE7B0AD4C3}"/>
              </a:ext>
            </a:extLst>
          </p:cNvPr>
          <p:cNvSpPr/>
          <p:nvPr/>
        </p:nvSpPr>
        <p:spPr>
          <a:xfrm>
            <a:off x="-13892" y="909670"/>
            <a:ext cx="12192000" cy="340221"/>
          </a:xfrm>
          <a:prstGeom prst="rect">
            <a:avLst/>
          </a:prstGeom>
          <a:noFill/>
        </p:spPr>
        <p:txBody>
          <a:bodyPr wrap="square">
            <a:spAutoFit/>
          </a:bodyPr>
          <a:lstStyle/>
          <a:p>
            <a:pPr marL="0" marR="0" lvl="0" indent="0" algn="ctr" defTabSz="1219170" rtl="0" eaLnBrk="1" fontAlgn="auto" latinLnBrk="0" hangingPunct="1">
              <a:lnSpc>
                <a:spcPct val="110000"/>
              </a:lnSpc>
              <a:spcBef>
                <a:spcPts val="0"/>
              </a:spcBef>
              <a:spcAft>
                <a:spcPts val="0"/>
              </a:spcAft>
              <a:buClr>
                <a:srgbClr val="000000"/>
              </a:buClr>
              <a:buSzTx/>
              <a:buFontTx/>
              <a:buNone/>
              <a:tabLst/>
              <a:defRPr/>
            </a:pPr>
            <a:r>
              <a:rPr kumimoji="0" lang="es-CO" sz="1600" b="1" i="0" u="none" strike="noStrike" kern="0" cap="none" spc="0" normalizeH="0" baseline="0" noProof="0" dirty="0">
                <a:ln>
                  <a:noFill/>
                </a:ln>
                <a:solidFill>
                  <a:srgbClr val="073763"/>
                </a:solidFill>
                <a:effectLst/>
                <a:uLnTx/>
                <a:uFillTx/>
                <a:latin typeface="Century Gothic" panose="020B0502020202020204" pitchFamily="34" charset="0"/>
                <a:ea typeface="+mn-ea"/>
                <a:cs typeface="Arial"/>
                <a:sym typeface="Arial"/>
              </a:rPr>
              <a:t>La gestión social de la ANI contiene planes, programas y acciones enfocadas a:</a:t>
            </a:r>
          </a:p>
        </p:txBody>
      </p:sp>
      <p:sp>
        <p:nvSpPr>
          <p:cNvPr id="63" name="Rectángulo 62">
            <a:extLst>
              <a:ext uri="{FF2B5EF4-FFF2-40B4-BE49-F238E27FC236}">
                <a16:creationId xmlns:a16="http://schemas.microsoft.com/office/drawing/2014/main" id="{705AE172-08EA-4D64-B908-2D338C3C67D2}"/>
              </a:ext>
            </a:extLst>
          </p:cNvPr>
          <p:cNvSpPr/>
          <p:nvPr/>
        </p:nvSpPr>
        <p:spPr>
          <a:xfrm>
            <a:off x="3817159" y="4604455"/>
            <a:ext cx="1866484" cy="1254189"/>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36</a:t>
            </a:r>
            <a:r>
              <a:rPr kumimoji="0" lang="es-CO" sz="105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Unidades Sociale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reasentadas en 4G. Con una inversión de </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2.976 mi</a:t>
            </a:r>
            <a:r>
              <a:rPr kumimoji="0" lang="es-CO" sz="1100" b="1" i="0" u="none" strike="noStrike" kern="1200" cap="none" spc="0" normalizeH="0" baseline="0" noProof="0" dirty="0" err="1">
                <a:ln>
                  <a:noFill/>
                </a:ln>
                <a:solidFill>
                  <a:srgbClr val="000000"/>
                </a:solidFill>
                <a:effectLst/>
                <a:uLnTx/>
                <a:uFillTx/>
                <a:latin typeface="Century Gothic" panose="020B0502020202020204" pitchFamily="34" charset="0"/>
                <a:ea typeface="+mn-ea"/>
                <a:cs typeface="+mn-cs"/>
              </a:rPr>
              <a:t>llones</a:t>
            </a:r>
            <a:r>
              <a:rPr kumimoji="0" lang="es-CO" sz="11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 invertidos </a:t>
            </a:r>
            <a:r>
              <a:rPr kumimoji="0" lang="es-CO" sz="105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en planes de reasentamiento.</a:t>
            </a:r>
            <a:endParaRPr kumimoji="0" lang="es-CO" sz="105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sp>
        <p:nvSpPr>
          <p:cNvPr id="2" name="Rectángulo 1">
            <a:extLst>
              <a:ext uri="{FF2B5EF4-FFF2-40B4-BE49-F238E27FC236}">
                <a16:creationId xmlns:a16="http://schemas.microsoft.com/office/drawing/2014/main" id="{D0762748-1A77-4645-A14B-97BC8A5C51AD}"/>
              </a:ext>
            </a:extLst>
          </p:cNvPr>
          <p:cNvSpPr/>
          <p:nvPr/>
        </p:nvSpPr>
        <p:spPr>
          <a:xfrm>
            <a:off x="476452" y="5029423"/>
            <a:ext cx="3019896" cy="81560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2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1,709 Unidades Sociales </a:t>
            </a:r>
            <a:r>
              <a:rPr kumimoji="0" lang="es-CO"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objeto de compensación socioeconómica.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CO" sz="11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Se han reconocido más de </a:t>
            </a:r>
            <a:r>
              <a:rPr kumimoji="0" lang="es-CO" sz="1200" b="1" i="0" u="none" strike="noStrike" kern="1200" cap="none" spc="0" normalizeH="0" baseline="0" noProof="0" dirty="0">
                <a:ln>
                  <a:noFill/>
                </a:ln>
                <a:solidFill>
                  <a:srgbClr val="000000"/>
                </a:solidFill>
                <a:effectLst/>
                <a:uLnTx/>
                <a:uFillTx/>
                <a:latin typeface="Century Gothic" panose="020B0502020202020204" pitchFamily="34" charset="0"/>
                <a:ea typeface="+mn-ea"/>
                <a:cs typeface="+mn-cs"/>
              </a:rPr>
              <a:t>$17,500 millones</a:t>
            </a:r>
          </a:p>
        </p:txBody>
      </p:sp>
    </p:spTree>
    <p:extLst>
      <p:ext uri="{BB962C8B-B14F-4D97-AF65-F5344CB8AC3E}">
        <p14:creationId xmlns:p14="http://schemas.microsoft.com/office/powerpoint/2010/main" val="33530589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3986441" y="3133497"/>
            <a:ext cx="3046355" cy="2638909"/>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rgbClr val="EBA3B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24082"/>
              </a:xfrm>
              <a:prstGeom prst="round2DiagRect">
                <a:avLst>
                  <a:gd name="adj1" fmla="val 42065"/>
                  <a:gd name="adj2" fmla="val 0"/>
                </a:avLst>
              </a:prstGeom>
              <a:solidFill>
                <a:srgbClr val="E25C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rgbClr val="A10F3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3890058" y="4244297"/>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400" b="1" kern="0" dirty="0">
                <a:solidFill>
                  <a:srgbClr val="000000"/>
                </a:solidFill>
                <a:latin typeface="Century Gothic" panose="020B0502020202020204" pitchFamily="34" charset="0"/>
                <a:cs typeface="Arial"/>
                <a:sym typeface="Arial"/>
              </a:rPr>
              <a:t>Meta 8.3</a:t>
            </a:r>
          </a:p>
          <a:p>
            <a:pPr algn="ctr"/>
            <a:r>
              <a:rPr lang="es-CO" sz="1200" kern="0" dirty="0">
                <a:solidFill>
                  <a:srgbClr val="000000"/>
                </a:solidFill>
                <a:latin typeface="Century Gothic" panose="020B0502020202020204" pitchFamily="34" charset="0"/>
                <a:cs typeface="Arial"/>
              </a:rPr>
              <a:t>Promover políticas orientadas al desarrollo que apoyen las actividades productivas, la creación de puestos de trabajo decentes, el emprendimiento, la creatividad y la innovación.</a:t>
            </a:r>
          </a:p>
          <a:p>
            <a:pPr algn="ctr"/>
            <a:br>
              <a:rPr lang="es-CO" sz="1300" kern="0" dirty="0">
                <a:solidFill>
                  <a:srgbClr val="000000"/>
                </a:solidFill>
                <a:latin typeface="Century Gothic" panose="020B0502020202020204" pitchFamily="34" charset="0"/>
                <a:cs typeface="Arial"/>
              </a:rPr>
            </a:br>
            <a:endParaRPr lang="es-MX" sz="1300" kern="0" dirty="0">
              <a:solidFill>
                <a:srgbClr val="000000"/>
              </a:solidFill>
              <a:latin typeface="Century Gothic" panose="020B0502020202020204" pitchFamily="34" charset="0"/>
              <a:cs typeface="Arial"/>
              <a:sym typeface="Economica"/>
            </a:endParaRPr>
          </a:p>
        </p:txBody>
      </p:sp>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promueve el derecho al trabajo a través de la vinculación de mano de obra de las comunidades de los proyectos, así como el fortalecimiento de iniciativas y/o proyectos productivos. </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5" y="3251290"/>
            <a:ext cx="2384884"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184526" y="3383469"/>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43400" y="3898596"/>
            <a:ext cx="2309893"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300" b="1" kern="0" dirty="0">
                <a:solidFill>
                  <a:srgbClr val="000000"/>
                </a:solidFill>
                <a:latin typeface="Century Gothic" panose="020B0502020202020204" pitchFamily="34" charset="0"/>
                <a:cs typeface="Arial"/>
                <a:sym typeface="Arial"/>
              </a:rPr>
              <a:t>ARTÍCULO 23</a:t>
            </a: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endParaRPr lang="es-CO" sz="1300"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kern="0" dirty="0">
                <a:solidFill>
                  <a:srgbClr val="000000"/>
                </a:solidFill>
                <a:latin typeface="Century Gothic" panose="020B0502020202020204" pitchFamily="34" charset="0"/>
                <a:cs typeface="Arial"/>
                <a:sym typeface="Arial"/>
              </a:rPr>
              <a:t>Toda persona tiene derecho al trabajo a condiciones equitativas y satisfactorias de trabajo </a:t>
            </a:r>
          </a:p>
        </p:txBody>
      </p:sp>
      <p:sp>
        <p:nvSpPr>
          <p:cNvPr id="21" name="Rectángulo 20">
            <a:extLst>
              <a:ext uri="{FF2B5EF4-FFF2-40B4-BE49-F238E27FC236}">
                <a16:creationId xmlns:a16="http://schemas.microsoft.com/office/drawing/2014/main" id="{9484B9F4-F8A3-41F7-9852-253CD6676089}"/>
              </a:ext>
            </a:extLst>
          </p:cNvPr>
          <p:cNvSpPr/>
          <p:nvPr/>
        </p:nvSpPr>
        <p:spPr>
          <a:xfrm>
            <a:off x="4330517" y="3121213"/>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4080424" y="3701569"/>
            <a:ext cx="2896371" cy="492443"/>
          </a:xfrm>
          <a:prstGeom prst="rect">
            <a:avLst/>
          </a:prstGeom>
        </p:spPr>
        <p:txBody>
          <a:bodyPr wrap="square">
            <a:spAutoFit/>
          </a:bodyPr>
          <a:lstStyle/>
          <a:p>
            <a:pPr algn="ctr" defTabSz="1219170">
              <a:buClr>
                <a:srgbClr val="000000"/>
              </a:buClr>
            </a:pPr>
            <a:r>
              <a:rPr lang="es-CO" sz="1300" b="1" kern="0" dirty="0">
                <a:solidFill>
                  <a:srgbClr val="000000"/>
                </a:solidFill>
                <a:latin typeface="Century Gothic" panose="020B0502020202020204" pitchFamily="34" charset="0"/>
                <a:cs typeface="Arial"/>
                <a:sym typeface="Arial"/>
              </a:rPr>
              <a:t>8. TRABAJO DECENTE Y CRECIMIENTO ECONÓMICO</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7881281" y="3121213"/>
            <a:ext cx="3895083" cy="2693602"/>
            <a:chOff x="334963" y="1838325"/>
            <a:chExt cx="2484437" cy="2892907"/>
          </a:xfrm>
        </p:grpSpPr>
        <p:grpSp>
          <p:nvGrpSpPr>
            <p:cNvPr id="24" name="Grupo 12">
              <a:extLst>
                <a:ext uri="{FF2B5EF4-FFF2-40B4-BE49-F238E27FC236}">
                  <a16:creationId xmlns:a16="http://schemas.microsoft.com/office/drawing/2014/main" id="{6EE09BC1-97C9-406F-894E-DDE5FC68888D}"/>
                </a:ext>
              </a:extLst>
            </p:cNvPr>
            <p:cNvGrpSpPr>
              <a:grpSpLocks/>
            </p:cNvGrpSpPr>
            <p:nvPr/>
          </p:nvGrpSpPr>
          <p:grpSpPr bwMode="auto">
            <a:xfrm>
              <a:off x="334963" y="1843088"/>
              <a:ext cx="2484437" cy="2888144"/>
              <a:chOff x="684214" y="2060575"/>
              <a:chExt cx="2232025" cy="2349585"/>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a:xfrm>
                <a:off x="684214" y="2060575"/>
                <a:ext cx="2232025" cy="2349585"/>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7" name="Redondear rectángulo de esquina diagonal 5">
                <a:extLst>
                  <a:ext uri="{FF2B5EF4-FFF2-40B4-BE49-F238E27FC236}">
                    <a16:creationId xmlns:a16="http://schemas.microsoft.com/office/drawing/2014/main" id="{E6DC643D-B82A-4696-AACC-2801279B5ED7}"/>
                  </a:ext>
                </a:extLst>
              </p:cNvPr>
              <p:cNvSpPr/>
              <p:nvPr/>
            </p:nvSpPr>
            <p:spPr>
              <a:xfrm>
                <a:off x="684214" y="2060575"/>
                <a:ext cx="2232025" cy="997019"/>
              </a:xfrm>
              <a:prstGeom prst="round2DiagRect">
                <a:avLst>
                  <a:gd name="adj1" fmla="val 42065"/>
                  <a:gd name="adj2" fmla="val 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30" name="Google Shape;438;p68">
            <a:extLst>
              <a:ext uri="{FF2B5EF4-FFF2-40B4-BE49-F238E27FC236}">
                <a16:creationId xmlns:a16="http://schemas.microsoft.com/office/drawing/2014/main" id="{83ED8BBC-3D66-4E05-9291-3AA1842E6F14}"/>
              </a:ext>
            </a:extLst>
          </p:cNvPr>
          <p:cNvSpPr txBox="1"/>
          <p:nvPr/>
        </p:nvSpPr>
        <p:spPr>
          <a:xfrm>
            <a:off x="7795976" y="3611421"/>
            <a:ext cx="4036389"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200" b="1" kern="0" dirty="0">
                <a:solidFill>
                  <a:srgbClr val="000000"/>
                </a:solidFill>
                <a:latin typeface="Century Gothic" panose="020B0502020202020204" pitchFamily="34" charset="0"/>
                <a:cs typeface="Arial"/>
                <a:sym typeface="Arial"/>
              </a:rPr>
              <a:t>VINCULACIÓN DE MANO DE OBRA Y FORTALECIMIENTO DE INICIATIVAS Y/O PROYECTOS PRODUCTIVOS</a:t>
            </a:r>
            <a:endParaRPr lang="es-MX" sz="1200" b="1" kern="0" dirty="0">
              <a:solidFill>
                <a:srgbClr val="000000"/>
              </a:solidFill>
              <a:latin typeface="Century Gothic" panose="020B0502020202020204" pitchFamily="34" charset="0"/>
              <a:cs typeface="Arial"/>
              <a:sym typeface="Economica"/>
            </a:endParaRPr>
          </a:p>
        </p:txBody>
      </p:sp>
      <p:pic>
        <p:nvPicPr>
          <p:cNvPr id="2" name="Imagen 1">
            <a:extLst>
              <a:ext uri="{FF2B5EF4-FFF2-40B4-BE49-F238E27FC236}">
                <a16:creationId xmlns:a16="http://schemas.microsoft.com/office/drawing/2014/main" id="{98CF85A6-A9BD-4156-ADA5-7D1395F7FBA4}"/>
              </a:ext>
            </a:extLst>
          </p:cNvPr>
          <p:cNvPicPr>
            <a:picLocks noChangeAspect="1"/>
          </p:cNvPicPr>
          <p:nvPr/>
        </p:nvPicPr>
        <p:blipFill rotWithShape="1">
          <a:blip r:embed="rId2"/>
          <a:srcRect l="-3085" t="-6271" r="3085" b="6271"/>
          <a:stretch/>
        </p:blipFill>
        <p:spPr>
          <a:xfrm>
            <a:off x="3584575" y="2583313"/>
            <a:ext cx="875167" cy="881041"/>
          </a:xfrm>
          <a:prstGeom prst="ellipse">
            <a:avLst/>
          </a:prstGeom>
        </p:spPr>
      </p:pic>
      <p:pic>
        <p:nvPicPr>
          <p:cNvPr id="36" name="Imagen 35">
            <a:extLst>
              <a:ext uri="{FF2B5EF4-FFF2-40B4-BE49-F238E27FC236}">
                <a16:creationId xmlns:a16="http://schemas.microsoft.com/office/drawing/2014/main" id="{2E8ACDC1-C932-42F6-BF2C-3B9316BE34A6}"/>
              </a:ext>
            </a:extLst>
          </p:cNvPr>
          <p:cNvPicPr>
            <a:picLocks noChangeAspect="1"/>
          </p:cNvPicPr>
          <p:nvPr/>
        </p:nvPicPr>
        <p:blipFill>
          <a:blip r:embed="rId3"/>
          <a:stretch>
            <a:fillRect/>
          </a:stretch>
        </p:blipFill>
        <p:spPr>
          <a:xfrm>
            <a:off x="367418" y="2675676"/>
            <a:ext cx="971911" cy="881041"/>
          </a:xfrm>
          <a:prstGeom prst="ellipse">
            <a:avLst/>
          </a:prstGeom>
        </p:spPr>
      </p:pic>
      <p:pic>
        <p:nvPicPr>
          <p:cNvPr id="37" name="Imagen 36">
            <a:extLst>
              <a:ext uri="{FF2B5EF4-FFF2-40B4-BE49-F238E27FC236}">
                <a16:creationId xmlns:a16="http://schemas.microsoft.com/office/drawing/2014/main" id="{B83DF966-02DE-4974-9709-9C0E36E42E17}"/>
              </a:ext>
            </a:extLst>
          </p:cNvPr>
          <p:cNvPicPr>
            <a:picLocks noChangeAspect="1"/>
          </p:cNvPicPr>
          <p:nvPr/>
        </p:nvPicPr>
        <p:blipFill rotWithShape="1">
          <a:blip r:embed="rId4"/>
          <a:srcRect l="24259" r="20368" b="-7423"/>
          <a:stretch/>
        </p:blipFill>
        <p:spPr>
          <a:xfrm>
            <a:off x="7439656" y="2691693"/>
            <a:ext cx="971911" cy="882901"/>
          </a:xfrm>
          <a:prstGeom prst="ellipse">
            <a:avLst/>
          </a:prstGeom>
          <a:ln w="38100">
            <a:noFill/>
          </a:ln>
        </p:spPr>
      </p:pic>
      <p:sp>
        <p:nvSpPr>
          <p:cNvPr id="38" name="Rectángulo 37">
            <a:extLst>
              <a:ext uri="{FF2B5EF4-FFF2-40B4-BE49-F238E27FC236}">
                <a16:creationId xmlns:a16="http://schemas.microsoft.com/office/drawing/2014/main" id="{16A6B1E8-B301-433F-AEAB-A8B20AA679BB}"/>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9" name="Rectángulo 38">
            <a:extLst>
              <a:ext uri="{FF2B5EF4-FFF2-40B4-BE49-F238E27FC236}">
                <a16:creationId xmlns:a16="http://schemas.microsoft.com/office/drawing/2014/main" id="{78C8CD04-424C-427A-955B-1C86C569FCFC}"/>
              </a:ext>
            </a:extLst>
          </p:cNvPr>
          <p:cNvSpPr/>
          <p:nvPr/>
        </p:nvSpPr>
        <p:spPr>
          <a:xfrm>
            <a:off x="-13894" y="1058695"/>
            <a:ext cx="12205893"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40" name="Rectángulo 39">
            <a:extLst>
              <a:ext uri="{FF2B5EF4-FFF2-40B4-BE49-F238E27FC236}">
                <a16:creationId xmlns:a16="http://schemas.microsoft.com/office/drawing/2014/main" id="{CF4A84EE-25C3-4AA7-994B-EABD7BB23FCD}"/>
              </a:ext>
            </a:extLst>
          </p:cNvPr>
          <p:cNvSpPr/>
          <p:nvPr/>
        </p:nvSpPr>
        <p:spPr>
          <a:xfrm>
            <a:off x="8002782" y="4375432"/>
            <a:ext cx="3659131" cy="461665"/>
          </a:xfrm>
          <a:prstGeom prst="rect">
            <a:avLst/>
          </a:prstGeom>
        </p:spPr>
        <p:txBody>
          <a:bodyPr wrap="square">
            <a:spAutoFit/>
          </a:bodyPr>
          <a:lstStyle/>
          <a:p>
            <a:pPr algn="ctr"/>
            <a:r>
              <a:rPr lang="es-CO" sz="1200" b="1" kern="0" dirty="0">
                <a:solidFill>
                  <a:srgbClr val="000000"/>
                </a:solidFill>
                <a:latin typeface="Century Gothic" panose="020B0502020202020204" pitchFamily="34" charset="0"/>
                <a:cs typeface="Arial"/>
              </a:rPr>
              <a:t>71,518 </a:t>
            </a:r>
            <a:r>
              <a:rPr lang="es-CO" sz="1200" kern="0" dirty="0">
                <a:solidFill>
                  <a:srgbClr val="000000"/>
                </a:solidFill>
                <a:latin typeface="Century Gothic" panose="020B0502020202020204" pitchFamily="34" charset="0"/>
                <a:cs typeface="Arial"/>
              </a:rPr>
              <a:t>empleos generados en 4G</a:t>
            </a:r>
          </a:p>
          <a:p>
            <a:pPr algn="ctr"/>
            <a:r>
              <a:rPr lang="es-CO" sz="1200" b="1" kern="0" dirty="0">
                <a:solidFill>
                  <a:srgbClr val="000000"/>
                </a:solidFill>
                <a:latin typeface="Century Gothic" panose="020B0502020202020204" pitchFamily="34" charset="0"/>
                <a:cs typeface="Arial"/>
              </a:rPr>
              <a:t>117,613 </a:t>
            </a:r>
            <a:r>
              <a:rPr lang="es-CO" sz="1200" kern="0" dirty="0">
                <a:solidFill>
                  <a:srgbClr val="000000"/>
                </a:solidFill>
                <a:latin typeface="Century Gothic" panose="020B0502020202020204" pitchFamily="34" charset="0"/>
                <a:cs typeface="Arial"/>
              </a:rPr>
              <a:t>empleos en total de todos los modos</a:t>
            </a:r>
          </a:p>
        </p:txBody>
      </p:sp>
      <p:sp>
        <p:nvSpPr>
          <p:cNvPr id="41" name="Rectángulo 40">
            <a:extLst>
              <a:ext uri="{FF2B5EF4-FFF2-40B4-BE49-F238E27FC236}">
                <a16:creationId xmlns:a16="http://schemas.microsoft.com/office/drawing/2014/main" id="{0EEBD606-26AA-42A0-BF04-FB627B42B647}"/>
              </a:ext>
            </a:extLst>
          </p:cNvPr>
          <p:cNvSpPr/>
          <p:nvPr/>
        </p:nvSpPr>
        <p:spPr>
          <a:xfrm>
            <a:off x="8108234" y="5063184"/>
            <a:ext cx="3659130" cy="446276"/>
          </a:xfrm>
          <a:prstGeom prst="rect">
            <a:avLst/>
          </a:prstGeom>
        </p:spPr>
        <p:txBody>
          <a:bodyPr wrap="square">
            <a:spAutoFit/>
          </a:bodyPr>
          <a:lstStyle/>
          <a:p>
            <a:pPr algn="ctr"/>
            <a:r>
              <a:rPr lang="es-CO" sz="1200" b="1" kern="0" dirty="0">
                <a:solidFill>
                  <a:srgbClr val="000000"/>
                </a:solidFill>
                <a:latin typeface="Century Gothic" panose="020B0502020202020204" pitchFamily="34" charset="0"/>
                <a:cs typeface="Arial"/>
              </a:rPr>
              <a:t>193 </a:t>
            </a:r>
            <a:r>
              <a:rPr lang="es-CO" sz="1200" kern="0" dirty="0">
                <a:solidFill>
                  <a:srgbClr val="000000"/>
                </a:solidFill>
                <a:latin typeface="Century Gothic" panose="020B0502020202020204" pitchFamily="34" charset="0"/>
                <a:cs typeface="Arial"/>
              </a:rPr>
              <a:t>iniciativas y/o proyectos productivos </a:t>
            </a:r>
            <a:r>
              <a:rPr lang="es-CO" sz="1100" kern="0" dirty="0">
                <a:solidFill>
                  <a:srgbClr val="000000"/>
                </a:solidFill>
                <a:latin typeface="Century Gothic" panose="020B0502020202020204" pitchFamily="34" charset="0"/>
                <a:cs typeface="Arial"/>
              </a:rPr>
              <a:t>en 4G </a:t>
            </a:r>
            <a:endParaRPr lang="es-CO" sz="1050" kern="0" dirty="0">
              <a:solidFill>
                <a:srgbClr val="000000"/>
              </a:solidFill>
              <a:latin typeface="Century Gothic" panose="020B0502020202020204" pitchFamily="34" charset="0"/>
              <a:cs typeface="Arial"/>
            </a:endParaRPr>
          </a:p>
          <a:p>
            <a:pPr algn="ctr"/>
            <a:r>
              <a:rPr lang="es-CO" sz="1100" b="1" kern="0" dirty="0">
                <a:solidFill>
                  <a:srgbClr val="000000"/>
                </a:solidFill>
                <a:latin typeface="Century Gothic" panose="020B0502020202020204" pitchFamily="34" charset="0"/>
                <a:cs typeface="Arial"/>
              </a:rPr>
              <a:t>Inversión superior a los $580 millones</a:t>
            </a:r>
          </a:p>
        </p:txBody>
      </p:sp>
    </p:spTree>
    <p:extLst>
      <p:ext uri="{BB962C8B-B14F-4D97-AF65-F5344CB8AC3E}">
        <p14:creationId xmlns:p14="http://schemas.microsoft.com/office/powerpoint/2010/main" val="10266812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23 Pentágono">
            <a:extLst>
              <a:ext uri="{FF2B5EF4-FFF2-40B4-BE49-F238E27FC236}">
                <a16:creationId xmlns:a16="http://schemas.microsoft.com/office/drawing/2014/main" id="{480CD70E-492F-4394-8049-B961B2986CDE}"/>
              </a:ext>
            </a:extLst>
          </p:cNvPr>
          <p:cNvSpPr/>
          <p:nvPr/>
        </p:nvSpPr>
        <p:spPr>
          <a:xfrm>
            <a:off x="4477740" y="2891356"/>
            <a:ext cx="6590377" cy="746744"/>
          </a:xfrm>
          <a:prstGeom prst="homePlate">
            <a:avLst/>
          </a:prstGeom>
          <a:solidFill>
            <a:srgbClr val="FF6600"/>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6" name="23 Pentágono">
            <a:extLst>
              <a:ext uri="{FF2B5EF4-FFF2-40B4-BE49-F238E27FC236}">
                <a16:creationId xmlns:a16="http://schemas.microsoft.com/office/drawing/2014/main" id="{F30D8834-8522-4EFE-B2DF-C95BE400B6A2}"/>
              </a:ext>
            </a:extLst>
          </p:cNvPr>
          <p:cNvSpPr/>
          <p:nvPr/>
        </p:nvSpPr>
        <p:spPr>
          <a:xfrm>
            <a:off x="4372265" y="1839845"/>
            <a:ext cx="6695852" cy="788015"/>
          </a:xfrm>
          <a:prstGeom prst="homePlate">
            <a:avLst/>
          </a:prstGeom>
          <a:solidFill>
            <a:schemeClr val="tx1"/>
          </a:solidFill>
          <a:ln>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7" name="Rectángulo 6">
            <a:extLst>
              <a:ext uri="{FF2B5EF4-FFF2-40B4-BE49-F238E27FC236}">
                <a16:creationId xmlns:a16="http://schemas.microsoft.com/office/drawing/2014/main" id="{9E2AD7E2-822B-4DD9-8A5F-EAC02423C83F}"/>
              </a:ext>
            </a:extLst>
          </p:cNvPr>
          <p:cNvSpPr/>
          <p:nvPr/>
        </p:nvSpPr>
        <p:spPr>
          <a:xfrm>
            <a:off x="4286922" y="3040737"/>
            <a:ext cx="5162844" cy="400110"/>
          </a:xfrm>
          <a:prstGeom prst="rect">
            <a:avLst/>
          </a:prstGeom>
          <a:noFill/>
        </p:spPr>
        <p:txBody>
          <a:bodyPr wrap="square">
            <a:spAutoFit/>
          </a:bodyPr>
          <a:lstStyle/>
          <a:p>
            <a:pPr lvl="0" algn="ctr" defTabSz="914377">
              <a:defRPr/>
            </a:pPr>
            <a:r>
              <a:rPr lang="es-CO" sz="2000" b="1" dirty="0">
                <a:solidFill>
                  <a:srgbClr val="FFFFFF"/>
                </a:solidFill>
                <a:latin typeface="Century Gothic" panose="020B0502020202020204" pitchFamily="34" charset="0"/>
                <a:cs typeface="Arial" panose="020B0604020202020204" pitchFamily="34" charset="0"/>
                <a:sym typeface="Arial" panose="020B0604020202020204" pitchFamily="34" charset="0"/>
              </a:rPr>
              <a:t>71,518</a:t>
            </a:r>
            <a:r>
              <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Empleos generados en 4G</a:t>
            </a:r>
          </a:p>
        </p:txBody>
      </p:sp>
      <p:sp>
        <p:nvSpPr>
          <p:cNvPr id="8" name="Rectángulo 7">
            <a:extLst>
              <a:ext uri="{FF2B5EF4-FFF2-40B4-BE49-F238E27FC236}">
                <a16:creationId xmlns:a16="http://schemas.microsoft.com/office/drawing/2014/main" id="{89196AA7-CCC8-4A05-AA1B-A68895A5ECF7}"/>
              </a:ext>
            </a:extLst>
          </p:cNvPr>
          <p:cNvSpPr/>
          <p:nvPr/>
        </p:nvSpPr>
        <p:spPr>
          <a:xfrm>
            <a:off x="4372266" y="2032214"/>
            <a:ext cx="6375367" cy="400110"/>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20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108.953</a:t>
            </a:r>
            <a:r>
              <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Empleos generados en total de todos los modos</a:t>
            </a:r>
          </a:p>
        </p:txBody>
      </p:sp>
      <p:sp>
        <p:nvSpPr>
          <p:cNvPr id="9" name="Elipse 8">
            <a:extLst>
              <a:ext uri="{FF2B5EF4-FFF2-40B4-BE49-F238E27FC236}">
                <a16:creationId xmlns:a16="http://schemas.microsoft.com/office/drawing/2014/main" id="{75BE796F-60AF-4817-8DDD-A4DFAFAFCAEA}"/>
              </a:ext>
            </a:extLst>
          </p:cNvPr>
          <p:cNvSpPr/>
          <p:nvPr/>
        </p:nvSpPr>
        <p:spPr>
          <a:xfrm>
            <a:off x="3843616" y="2833692"/>
            <a:ext cx="900000" cy="864000"/>
          </a:xfrm>
          <a:prstGeom prst="ellipse">
            <a:avLst/>
          </a:prstGeom>
          <a:solidFill>
            <a:srgbClr val="FF6600"/>
          </a:solidFill>
          <a:ln>
            <a:solidFill>
              <a:srgbClr val="FF6600"/>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0" name="Shape 557">
            <a:extLst>
              <a:ext uri="{FF2B5EF4-FFF2-40B4-BE49-F238E27FC236}">
                <a16:creationId xmlns:a16="http://schemas.microsoft.com/office/drawing/2014/main" id="{A92BEFAA-49CB-4454-9540-092D9F4C7793}"/>
              </a:ext>
            </a:extLst>
          </p:cNvPr>
          <p:cNvSpPr>
            <a:spLocks noChangeArrowheads="1"/>
          </p:cNvSpPr>
          <p:nvPr/>
        </p:nvSpPr>
        <p:spPr bwMode="auto">
          <a:xfrm>
            <a:off x="4015016" y="3060048"/>
            <a:ext cx="504000" cy="360000"/>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1" name="Elipse 10">
            <a:extLst>
              <a:ext uri="{FF2B5EF4-FFF2-40B4-BE49-F238E27FC236}">
                <a16:creationId xmlns:a16="http://schemas.microsoft.com/office/drawing/2014/main" id="{406AC691-E0AA-4BDF-8887-DA1FE2BDDAB5}"/>
              </a:ext>
            </a:extLst>
          </p:cNvPr>
          <p:cNvSpPr/>
          <p:nvPr/>
        </p:nvSpPr>
        <p:spPr>
          <a:xfrm>
            <a:off x="3707241" y="1798355"/>
            <a:ext cx="936000" cy="864000"/>
          </a:xfrm>
          <a:prstGeom prst="ellipse">
            <a:avLst/>
          </a:prstGeom>
          <a:solidFill>
            <a:schemeClr val="tx1"/>
          </a:solidFill>
          <a:ln>
            <a:solidFill>
              <a:schemeClr val="tx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2" name="Shape 557">
            <a:extLst>
              <a:ext uri="{FF2B5EF4-FFF2-40B4-BE49-F238E27FC236}">
                <a16:creationId xmlns:a16="http://schemas.microsoft.com/office/drawing/2014/main" id="{4AC357D6-64B4-444F-9F97-0FB5F56C31BD}"/>
              </a:ext>
            </a:extLst>
          </p:cNvPr>
          <p:cNvSpPr>
            <a:spLocks noChangeArrowheads="1"/>
          </p:cNvSpPr>
          <p:nvPr/>
        </p:nvSpPr>
        <p:spPr bwMode="auto">
          <a:xfrm>
            <a:off x="4171309" y="1899435"/>
            <a:ext cx="324000" cy="237092"/>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nvGrpSpPr>
          <p:cNvPr id="13" name="Shape 559">
            <a:extLst>
              <a:ext uri="{FF2B5EF4-FFF2-40B4-BE49-F238E27FC236}">
                <a16:creationId xmlns:a16="http://schemas.microsoft.com/office/drawing/2014/main" id="{DF6D0497-57D9-4413-BAC0-D0D81F1DB07C}"/>
              </a:ext>
            </a:extLst>
          </p:cNvPr>
          <p:cNvGrpSpPr>
            <a:grpSpLocks/>
          </p:cNvGrpSpPr>
          <p:nvPr/>
        </p:nvGrpSpPr>
        <p:grpSpPr bwMode="auto">
          <a:xfrm>
            <a:off x="3998018" y="2214913"/>
            <a:ext cx="287337" cy="306387"/>
            <a:chOff x="6642425" y="4312500"/>
            <a:chExt cx="433550" cy="462825"/>
          </a:xfrm>
        </p:grpSpPr>
        <p:sp>
          <p:nvSpPr>
            <p:cNvPr id="14" name="Shape 560">
              <a:extLst>
                <a:ext uri="{FF2B5EF4-FFF2-40B4-BE49-F238E27FC236}">
                  <a16:creationId xmlns:a16="http://schemas.microsoft.com/office/drawing/2014/main" id="{58BD61E1-7C5E-4FDA-A60E-E2B93736FB48}"/>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5" name="Shape 561">
              <a:extLst>
                <a:ext uri="{FF2B5EF4-FFF2-40B4-BE49-F238E27FC236}">
                  <a16:creationId xmlns:a16="http://schemas.microsoft.com/office/drawing/2014/main" id="{947D6260-6ADC-4EC2-A2DA-4E60F2AAAD67}"/>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6" name="Shape 562">
              <a:extLst>
                <a:ext uri="{FF2B5EF4-FFF2-40B4-BE49-F238E27FC236}">
                  <a16:creationId xmlns:a16="http://schemas.microsoft.com/office/drawing/2014/main" id="{1A1B8739-ED48-4F22-9B14-AEBE54F5582E}"/>
                </a:ext>
              </a:extLst>
            </p:cNvPr>
            <p:cNvSpPr>
              <a:spLocks noChangeArrowheads="1"/>
            </p:cNvSpPr>
            <p:nvPr/>
          </p:nvSpPr>
          <p:spPr bwMode="auto">
            <a:xfrm>
              <a:off x="6684575"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grpSp>
        <p:nvGrpSpPr>
          <p:cNvPr id="17" name="Shape 537">
            <a:extLst>
              <a:ext uri="{FF2B5EF4-FFF2-40B4-BE49-F238E27FC236}">
                <a16:creationId xmlns:a16="http://schemas.microsoft.com/office/drawing/2014/main" id="{CA20E932-2D6E-439A-A8EE-EAD28FE5B2C3}"/>
              </a:ext>
            </a:extLst>
          </p:cNvPr>
          <p:cNvGrpSpPr>
            <a:grpSpLocks/>
          </p:cNvGrpSpPr>
          <p:nvPr/>
        </p:nvGrpSpPr>
        <p:grpSpPr bwMode="auto">
          <a:xfrm>
            <a:off x="3854350" y="1873497"/>
            <a:ext cx="287337" cy="249803"/>
            <a:chOff x="570875" y="4322250"/>
            <a:chExt cx="443300" cy="443325"/>
          </a:xfrm>
        </p:grpSpPr>
        <p:sp>
          <p:nvSpPr>
            <p:cNvPr id="18" name="Shape 538">
              <a:extLst>
                <a:ext uri="{FF2B5EF4-FFF2-40B4-BE49-F238E27FC236}">
                  <a16:creationId xmlns:a16="http://schemas.microsoft.com/office/drawing/2014/main" id="{F2CE4103-9824-43B9-AD06-C754C51A1085}"/>
                </a:ext>
              </a:extLst>
            </p:cNvPr>
            <p:cNvSpPr>
              <a:spLocks noChangeArrowheads="1"/>
            </p:cNvSpPr>
            <p:nvPr/>
          </p:nvSpPr>
          <p:spPr bwMode="auto">
            <a:xfrm>
              <a:off x="570875" y="4322250"/>
              <a:ext cx="443300" cy="443325"/>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9" name="Shape 539">
              <a:extLst>
                <a:ext uri="{FF2B5EF4-FFF2-40B4-BE49-F238E27FC236}">
                  <a16:creationId xmlns:a16="http://schemas.microsoft.com/office/drawing/2014/main" id="{58348AB5-4E86-4AC6-8E7E-45AF47C4ED62}"/>
                </a:ext>
              </a:extLst>
            </p:cNvPr>
            <p:cNvSpPr>
              <a:spLocks noChangeArrowheads="1"/>
            </p:cNvSpPr>
            <p:nvPr/>
          </p:nvSpPr>
          <p:spPr bwMode="auto">
            <a:xfrm>
              <a:off x="597725" y="4665400"/>
              <a:ext cx="73300" cy="73300"/>
            </a:xfrm>
            <a:custGeom>
              <a:avLst/>
              <a:gdLst>
                <a:gd name="T0" fmla="*/ 2147483646 w 2932"/>
                <a:gd name="T1" fmla="*/ 2147483646 h 2932"/>
                <a:gd name="T2" fmla="*/ 2147483646 w 2932"/>
                <a:gd name="T3" fmla="*/ 2147483646 h 2932"/>
                <a:gd name="T4" fmla="*/ 2147483646 w 2932"/>
                <a:gd name="T5" fmla="*/ 2147483646 h 2932"/>
                <a:gd name="T6" fmla="*/ 2147483646 w 2932"/>
                <a:gd name="T7" fmla="*/ 2147483646 h 2932"/>
                <a:gd name="T8" fmla="*/ 2147483646 w 2932"/>
                <a:gd name="T9" fmla="*/ 2147483646 h 2932"/>
                <a:gd name="T10" fmla="*/ 2147483646 w 2932"/>
                <a:gd name="T11" fmla="*/ 2147483646 h 2932"/>
                <a:gd name="T12" fmla="*/ 2147483646 w 2932"/>
                <a:gd name="T13" fmla="*/ 2147483646 h 2932"/>
                <a:gd name="T14" fmla="*/ 2147483646 w 2932"/>
                <a:gd name="T15" fmla="*/ 2147483646 h 2932"/>
                <a:gd name="T16" fmla="*/ 2147483646 w 2932"/>
                <a:gd name="T17" fmla="*/ 2147483646 h 2932"/>
                <a:gd name="T18" fmla="*/ 2147483646 w 2932"/>
                <a:gd name="T19" fmla="*/ 2147483646 h 2932"/>
                <a:gd name="T20" fmla="*/ 2147483646 w 2932"/>
                <a:gd name="T21" fmla="*/ 2147483646 h 2932"/>
                <a:gd name="T22" fmla="*/ 2147483646 w 2932"/>
                <a:gd name="T23" fmla="*/ 2147483646 h 2932"/>
                <a:gd name="T24" fmla="*/ 2147483646 w 2932"/>
                <a:gd name="T25" fmla="*/ 2147483646 h 2932"/>
                <a:gd name="T26" fmla="*/ 2147483646 w 2932"/>
                <a:gd name="T27" fmla="*/ 2147483646 h 2932"/>
                <a:gd name="T28" fmla="*/ 2147483646 w 2932"/>
                <a:gd name="T29" fmla="*/ 2147483646 h 2932"/>
                <a:gd name="T30" fmla="*/ 2147483646 w 2932"/>
                <a:gd name="T31" fmla="*/ 2147483646 h 2932"/>
                <a:gd name="T32" fmla="*/ 2147483646 w 2932"/>
                <a:gd name="T33" fmla="*/ 2147483646 h 2932"/>
                <a:gd name="T34" fmla="*/ 2147483646 w 2932"/>
                <a:gd name="T35" fmla="*/ 2147483646 h 2932"/>
                <a:gd name="T36" fmla="*/ 2147483646 w 2932"/>
                <a:gd name="T37" fmla="*/ 2147483646 h 2932"/>
                <a:gd name="T38" fmla="*/ 2147483646 w 2932"/>
                <a:gd name="T39" fmla="*/ 2147483646 h 2932"/>
                <a:gd name="T40" fmla="*/ 2147483646 w 2932"/>
                <a:gd name="T41" fmla="*/ 2147483646 h 2932"/>
                <a:gd name="T42" fmla="*/ 2147483646 w 2932"/>
                <a:gd name="T43" fmla="*/ 2147483646 h 2932"/>
                <a:gd name="T44" fmla="*/ 2147483646 w 2932"/>
                <a:gd name="T45" fmla="*/ 2147483646 h 2932"/>
                <a:gd name="T46" fmla="*/ 2147483646 w 2932"/>
                <a:gd name="T47" fmla="*/ 2147483646 h 2932"/>
                <a:gd name="T48" fmla="*/ 2147483646 w 2932"/>
                <a:gd name="T49" fmla="*/ 2147483646 h 2932"/>
                <a:gd name="T50" fmla="*/ 2147483646 w 2932"/>
                <a:gd name="T51" fmla="*/ 2147483646 h 2932"/>
                <a:gd name="T52" fmla="*/ 2147483646 w 2932"/>
                <a:gd name="T53" fmla="*/ 2147483646 h 293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32"/>
                <a:gd name="T82" fmla="*/ 0 h 2932"/>
                <a:gd name="T83" fmla="*/ 2932 w 2932"/>
                <a:gd name="T84" fmla="*/ 2932 h 2932"/>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32" h="2932" extrusionOk="0">
                  <a:moveTo>
                    <a:pt x="2028" y="1"/>
                  </a:moveTo>
                  <a:lnTo>
                    <a:pt x="1857" y="25"/>
                  </a:lnTo>
                  <a:lnTo>
                    <a:pt x="1686" y="74"/>
                  </a:lnTo>
                  <a:lnTo>
                    <a:pt x="1515" y="147"/>
                  </a:lnTo>
                  <a:lnTo>
                    <a:pt x="1369" y="269"/>
                  </a:lnTo>
                  <a:lnTo>
                    <a:pt x="1222" y="489"/>
                  </a:lnTo>
                  <a:lnTo>
                    <a:pt x="1002" y="831"/>
                  </a:lnTo>
                  <a:lnTo>
                    <a:pt x="563" y="1735"/>
                  </a:lnTo>
                  <a:lnTo>
                    <a:pt x="172" y="2565"/>
                  </a:lnTo>
                  <a:lnTo>
                    <a:pt x="1" y="2932"/>
                  </a:lnTo>
                  <a:lnTo>
                    <a:pt x="367" y="2761"/>
                  </a:lnTo>
                  <a:lnTo>
                    <a:pt x="1198" y="2370"/>
                  </a:lnTo>
                  <a:lnTo>
                    <a:pt x="2101" y="1930"/>
                  </a:lnTo>
                  <a:lnTo>
                    <a:pt x="2443" y="1710"/>
                  </a:lnTo>
                  <a:lnTo>
                    <a:pt x="2663" y="1564"/>
                  </a:lnTo>
                  <a:lnTo>
                    <a:pt x="2785" y="1417"/>
                  </a:lnTo>
                  <a:lnTo>
                    <a:pt x="2858" y="1246"/>
                  </a:lnTo>
                  <a:lnTo>
                    <a:pt x="2907" y="1075"/>
                  </a:lnTo>
                  <a:lnTo>
                    <a:pt x="2932" y="904"/>
                  </a:lnTo>
                  <a:lnTo>
                    <a:pt x="2907" y="733"/>
                  </a:lnTo>
                  <a:lnTo>
                    <a:pt x="2858" y="562"/>
                  </a:lnTo>
                  <a:lnTo>
                    <a:pt x="2785" y="416"/>
                  </a:lnTo>
                  <a:lnTo>
                    <a:pt x="2663" y="269"/>
                  </a:lnTo>
                  <a:lnTo>
                    <a:pt x="2517" y="147"/>
                  </a:lnTo>
                  <a:lnTo>
                    <a:pt x="2370" y="74"/>
                  </a:lnTo>
                  <a:lnTo>
                    <a:pt x="2199" y="25"/>
                  </a:lnTo>
                  <a:lnTo>
                    <a:pt x="2028"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20" name="Shape 540">
              <a:extLst>
                <a:ext uri="{FF2B5EF4-FFF2-40B4-BE49-F238E27FC236}">
                  <a16:creationId xmlns:a16="http://schemas.microsoft.com/office/drawing/2014/main" id="{4B9B5AEE-67FC-461C-9BCA-F5DFD9658A6B}"/>
                </a:ext>
              </a:extLst>
            </p:cNvPr>
            <p:cNvSpPr>
              <a:spLocks noChangeArrowheads="1"/>
            </p:cNvSpPr>
            <p:nvPr/>
          </p:nvSpPr>
          <p:spPr bwMode="auto">
            <a:xfrm>
              <a:off x="654525" y="4708150"/>
              <a:ext cx="47025" cy="47025"/>
            </a:xfrm>
            <a:custGeom>
              <a:avLst/>
              <a:gdLst>
                <a:gd name="T0" fmla="*/ 2147483646 w 1881"/>
                <a:gd name="T1" fmla="*/ 0 h 1881"/>
                <a:gd name="T2" fmla="*/ 2147483646 w 1881"/>
                <a:gd name="T3" fmla="*/ 2147483646 h 1881"/>
                <a:gd name="T4" fmla="*/ 2147483646 w 1881"/>
                <a:gd name="T5" fmla="*/ 2147483646 h 1881"/>
                <a:gd name="T6" fmla="*/ 2147483646 w 1881"/>
                <a:gd name="T7" fmla="*/ 2147483646 h 1881"/>
                <a:gd name="T8" fmla="*/ 2147483646 w 1881"/>
                <a:gd name="T9" fmla="*/ 2147483646 h 1881"/>
                <a:gd name="T10" fmla="*/ 2147483646 w 1881"/>
                <a:gd name="T11" fmla="*/ 2147483646 h 1881"/>
                <a:gd name="T12" fmla="*/ 2147483646 w 1881"/>
                <a:gd name="T13" fmla="*/ 2147483646 h 1881"/>
                <a:gd name="T14" fmla="*/ 2147483646 w 1881"/>
                <a:gd name="T15" fmla="*/ 2147483646 h 1881"/>
                <a:gd name="T16" fmla="*/ 2147483646 w 1881"/>
                <a:gd name="T17" fmla="*/ 2147483646 h 1881"/>
                <a:gd name="T18" fmla="*/ 2147483646 w 1881"/>
                <a:gd name="T19" fmla="*/ 2147483646 h 1881"/>
                <a:gd name="T20" fmla="*/ 0 w 1881"/>
                <a:gd name="T21" fmla="*/ 2147483646 h 1881"/>
                <a:gd name="T22" fmla="*/ 2147483646 w 1881"/>
                <a:gd name="T23" fmla="*/ 2147483646 h 1881"/>
                <a:gd name="T24" fmla="*/ 2147483646 w 1881"/>
                <a:gd name="T25" fmla="*/ 2147483646 h 1881"/>
                <a:gd name="T26" fmla="*/ 2147483646 w 1881"/>
                <a:gd name="T27" fmla="*/ 2147483646 h 1881"/>
                <a:gd name="T28" fmla="*/ 2147483646 w 1881"/>
                <a:gd name="T29" fmla="*/ 2147483646 h 1881"/>
                <a:gd name="T30" fmla="*/ 2147483646 w 1881"/>
                <a:gd name="T31" fmla="*/ 2147483646 h 1881"/>
                <a:gd name="T32" fmla="*/ 2147483646 w 1881"/>
                <a:gd name="T33" fmla="*/ 2147483646 h 1881"/>
                <a:gd name="T34" fmla="*/ 2147483646 w 1881"/>
                <a:gd name="T35" fmla="*/ 2147483646 h 1881"/>
                <a:gd name="T36" fmla="*/ 2147483646 w 1881"/>
                <a:gd name="T37" fmla="*/ 2147483646 h 1881"/>
                <a:gd name="T38" fmla="*/ 2147483646 w 1881"/>
                <a:gd name="T39" fmla="*/ 2147483646 h 1881"/>
                <a:gd name="T40" fmla="*/ 2147483646 w 1881"/>
                <a:gd name="T41" fmla="*/ 2147483646 h 1881"/>
                <a:gd name="T42" fmla="*/ 2147483646 w 1881"/>
                <a:gd name="T43" fmla="*/ 2147483646 h 1881"/>
                <a:gd name="T44" fmla="*/ 2147483646 w 1881"/>
                <a:gd name="T45" fmla="*/ 2147483646 h 1881"/>
                <a:gd name="T46" fmla="*/ 2147483646 w 1881"/>
                <a:gd name="T47" fmla="*/ 2147483646 h 1881"/>
                <a:gd name="T48" fmla="*/ 2147483646 w 1881"/>
                <a:gd name="T49" fmla="*/ 2147483646 h 1881"/>
                <a:gd name="T50" fmla="*/ 2147483646 w 1881"/>
                <a:gd name="T51" fmla="*/ 2147483646 h 1881"/>
                <a:gd name="T52" fmla="*/ 2147483646 w 1881"/>
                <a:gd name="T53" fmla="*/ 2147483646 h 1881"/>
                <a:gd name="T54" fmla="*/ 2147483646 w 1881"/>
                <a:gd name="T55" fmla="*/ 2147483646 h 1881"/>
                <a:gd name="T56" fmla="*/ 2147483646 w 1881"/>
                <a:gd name="T57" fmla="*/ 0 h 188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881"/>
                <a:gd name="T88" fmla="*/ 0 h 1881"/>
                <a:gd name="T89" fmla="*/ 1881 w 1881"/>
                <a:gd name="T90" fmla="*/ 1881 h 1881"/>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881" h="1881" extrusionOk="0">
                  <a:moveTo>
                    <a:pt x="1124" y="0"/>
                  </a:moveTo>
                  <a:lnTo>
                    <a:pt x="977" y="25"/>
                  </a:lnTo>
                  <a:lnTo>
                    <a:pt x="831" y="74"/>
                  </a:lnTo>
                  <a:lnTo>
                    <a:pt x="709" y="147"/>
                  </a:lnTo>
                  <a:lnTo>
                    <a:pt x="586" y="245"/>
                  </a:lnTo>
                  <a:lnTo>
                    <a:pt x="464" y="391"/>
                  </a:lnTo>
                  <a:lnTo>
                    <a:pt x="367" y="611"/>
                  </a:lnTo>
                  <a:lnTo>
                    <a:pt x="269" y="880"/>
                  </a:lnTo>
                  <a:lnTo>
                    <a:pt x="171" y="1173"/>
                  </a:lnTo>
                  <a:lnTo>
                    <a:pt x="49" y="1686"/>
                  </a:lnTo>
                  <a:lnTo>
                    <a:pt x="0" y="1881"/>
                  </a:lnTo>
                  <a:lnTo>
                    <a:pt x="220" y="1857"/>
                  </a:lnTo>
                  <a:lnTo>
                    <a:pt x="733" y="1710"/>
                  </a:lnTo>
                  <a:lnTo>
                    <a:pt x="1002" y="1637"/>
                  </a:lnTo>
                  <a:lnTo>
                    <a:pt x="1270" y="1539"/>
                  </a:lnTo>
                  <a:lnTo>
                    <a:pt x="1515" y="1417"/>
                  </a:lnTo>
                  <a:lnTo>
                    <a:pt x="1661" y="1319"/>
                  </a:lnTo>
                  <a:lnTo>
                    <a:pt x="1759" y="1197"/>
                  </a:lnTo>
                  <a:lnTo>
                    <a:pt x="1832" y="1051"/>
                  </a:lnTo>
                  <a:lnTo>
                    <a:pt x="1881" y="928"/>
                  </a:lnTo>
                  <a:lnTo>
                    <a:pt x="1881" y="782"/>
                  </a:lnTo>
                  <a:lnTo>
                    <a:pt x="1881" y="635"/>
                  </a:lnTo>
                  <a:lnTo>
                    <a:pt x="1832" y="489"/>
                  </a:lnTo>
                  <a:lnTo>
                    <a:pt x="1759" y="367"/>
                  </a:lnTo>
                  <a:lnTo>
                    <a:pt x="1661" y="245"/>
                  </a:lnTo>
                  <a:lnTo>
                    <a:pt x="1539" y="147"/>
                  </a:lnTo>
                  <a:lnTo>
                    <a:pt x="1417" y="74"/>
                  </a:lnTo>
                  <a:lnTo>
                    <a:pt x="1270" y="25"/>
                  </a:lnTo>
                  <a:lnTo>
                    <a:pt x="1124"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21" name="Shape 541">
              <a:extLst>
                <a:ext uri="{FF2B5EF4-FFF2-40B4-BE49-F238E27FC236}">
                  <a16:creationId xmlns:a16="http://schemas.microsoft.com/office/drawing/2014/main" id="{53430A3E-0912-47E7-98E6-718F0F7C16A4}"/>
                </a:ext>
              </a:extLst>
            </p:cNvPr>
            <p:cNvSpPr>
              <a:spLocks noChangeArrowheads="1"/>
            </p:cNvSpPr>
            <p:nvPr/>
          </p:nvSpPr>
          <p:spPr bwMode="auto">
            <a:xfrm>
              <a:off x="581250" y="4634875"/>
              <a:ext cx="47050" cy="47050"/>
            </a:xfrm>
            <a:custGeom>
              <a:avLst/>
              <a:gdLst>
                <a:gd name="T0" fmla="*/ 2147483646 w 1882"/>
                <a:gd name="T1" fmla="*/ 2147483646 h 1882"/>
                <a:gd name="T2" fmla="*/ 2147483646 w 1882"/>
                <a:gd name="T3" fmla="*/ 2147483646 h 1882"/>
                <a:gd name="T4" fmla="*/ 2147483646 w 1882"/>
                <a:gd name="T5" fmla="*/ 2147483646 h 1882"/>
                <a:gd name="T6" fmla="*/ 2147483646 w 1882"/>
                <a:gd name="T7" fmla="*/ 2147483646 h 1882"/>
                <a:gd name="T8" fmla="*/ 2147483646 w 1882"/>
                <a:gd name="T9" fmla="*/ 2147483646 h 1882"/>
                <a:gd name="T10" fmla="*/ 2147483646 w 1882"/>
                <a:gd name="T11" fmla="*/ 2147483646 h 1882"/>
                <a:gd name="T12" fmla="*/ 2147483646 w 1882"/>
                <a:gd name="T13" fmla="*/ 2147483646 h 1882"/>
                <a:gd name="T14" fmla="*/ 2147483646 w 1882"/>
                <a:gd name="T15" fmla="*/ 2147483646 h 1882"/>
                <a:gd name="T16" fmla="*/ 2147483646 w 1882"/>
                <a:gd name="T17" fmla="*/ 2147483646 h 1882"/>
                <a:gd name="T18" fmla="*/ 2147483646 w 1882"/>
                <a:gd name="T19" fmla="*/ 2147483646 h 1882"/>
                <a:gd name="T20" fmla="*/ 2147483646 w 1882"/>
                <a:gd name="T21" fmla="*/ 2147483646 h 1882"/>
                <a:gd name="T22" fmla="*/ 2147483646 w 1882"/>
                <a:gd name="T23" fmla="*/ 2147483646 h 1882"/>
                <a:gd name="T24" fmla="*/ 2147483646 w 1882"/>
                <a:gd name="T25" fmla="*/ 2147483646 h 1882"/>
                <a:gd name="T26" fmla="*/ 2147483646 w 1882"/>
                <a:gd name="T27" fmla="*/ 2147483646 h 1882"/>
                <a:gd name="T28" fmla="*/ 2147483646 w 1882"/>
                <a:gd name="T29" fmla="*/ 2147483646 h 1882"/>
                <a:gd name="T30" fmla="*/ 2147483646 w 1882"/>
                <a:gd name="T31" fmla="*/ 2147483646 h 1882"/>
                <a:gd name="T32" fmla="*/ 2147483646 w 1882"/>
                <a:gd name="T33" fmla="*/ 2147483646 h 1882"/>
                <a:gd name="T34" fmla="*/ 2147483646 w 1882"/>
                <a:gd name="T35" fmla="*/ 2147483646 h 1882"/>
                <a:gd name="T36" fmla="*/ 2147483646 w 1882"/>
                <a:gd name="T37" fmla="*/ 2147483646 h 1882"/>
                <a:gd name="T38" fmla="*/ 2147483646 w 1882"/>
                <a:gd name="T39" fmla="*/ 2147483646 h 1882"/>
                <a:gd name="T40" fmla="*/ 2147483646 w 1882"/>
                <a:gd name="T41" fmla="*/ 2147483646 h 1882"/>
                <a:gd name="T42" fmla="*/ 2147483646 w 1882"/>
                <a:gd name="T43" fmla="*/ 2147483646 h 1882"/>
                <a:gd name="T44" fmla="*/ 2147483646 w 1882"/>
                <a:gd name="T45" fmla="*/ 2147483646 h 1882"/>
                <a:gd name="T46" fmla="*/ 2147483646 w 1882"/>
                <a:gd name="T47" fmla="*/ 2147483646 h 1882"/>
                <a:gd name="T48" fmla="*/ 2147483646 w 1882"/>
                <a:gd name="T49" fmla="*/ 2147483646 h 1882"/>
                <a:gd name="T50" fmla="*/ 2147483646 w 1882"/>
                <a:gd name="T51" fmla="*/ 2147483646 h 1882"/>
                <a:gd name="T52" fmla="*/ 2147483646 w 1882"/>
                <a:gd name="T53" fmla="*/ 2147483646 h 1882"/>
                <a:gd name="T54" fmla="*/ 2147483646 w 1882"/>
                <a:gd name="T55" fmla="*/ 2147483646 h 188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882"/>
                <a:gd name="T85" fmla="*/ 0 h 1882"/>
                <a:gd name="T86" fmla="*/ 1882 w 1882"/>
                <a:gd name="T87" fmla="*/ 1882 h 188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882" h="1882" extrusionOk="0">
                  <a:moveTo>
                    <a:pt x="953" y="1"/>
                  </a:moveTo>
                  <a:lnTo>
                    <a:pt x="831" y="49"/>
                  </a:lnTo>
                  <a:lnTo>
                    <a:pt x="684" y="123"/>
                  </a:lnTo>
                  <a:lnTo>
                    <a:pt x="562" y="220"/>
                  </a:lnTo>
                  <a:lnTo>
                    <a:pt x="465" y="367"/>
                  </a:lnTo>
                  <a:lnTo>
                    <a:pt x="342" y="611"/>
                  </a:lnTo>
                  <a:lnTo>
                    <a:pt x="245" y="880"/>
                  </a:lnTo>
                  <a:lnTo>
                    <a:pt x="171" y="1148"/>
                  </a:lnTo>
                  <a:lnTo>
                    <a:pt x="25" y="1661"/>
                  </a:lnTo>
                  <a:lnTo>
                    <a:pt x="1" y="1881"/>
                  </a:lnTo>
                  <a:lnTo>
                    <a:pt x="196" y="1832"/>
                  </a:lnTo>
                  <a:lnTo>
                    <a:pt x="709" y="1710"/>
                  </a:lnTo>
                  <a:lnTo>
                    <a:pt x="1002" y="1613"/>
                  </a:lnTo>
                  <a:lnTo>
                    <a:pt x="1271" y="1515"/>
                  </a:lnTo>
                  <a:lnTo>
                    <a:pt x="1490" y="1417"/>
                  </a:lnTo>
                  <a:lnTo>
                    <a:pt x="1637" y="1295"/>
                  </a:lnTo>
                  <a:lnTo>
                    <a:pt x="1735" y="1173"/>
                  </a:lnTo>
                  <a:lnTo>
                    <a:pt x="1808" y="1051"/>
                  </a:lnTo>
                  <a:lnTo>
                    <a:pt x="1857" y="904"/>
                  </a:lnTo>
                  <a:lnTo>
                    <a:pt x="1881" y="758"/>
                  </a:lnTo>
                  <a:lnTo>
                    <a:pt x="1857" y="611"/>
                  </a:lnTo>
                  <a:lnTo>
                    <a:pt x="1808" y="465"/>
                  </a:lnTo>
                  <a:lnTo>
                    <a:pt x="1735" y="343"/>
                  </a:lnTo>
                  <a:lnTo>
                    <a:pt x="1637" y="220"/>
                  </a:lnTo>
                  <a:lnTo>
                    <a:pt x="1515" y="123"/>
                  </a:lnTo>
                  <a:lnTo>
                    <a:pt x="1393" y="49"/>
                  </a:lnTo>
                  <a:lnTo>
                    <a:pt x="1246" y="1"/>
                  </a:lnTo>
                  <a:lnTo>
                    <a:pt x="95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grpSp>
        <p:nvGrpSpPr>
          <p:cNvPr id="22" name="Grupo 21">
            <a:extLst>
              <a:ext uri="{FF2B5EF4-FFF2-40B4-BE49-F238E27FC236}">
                <a16:creationId xmlns:a16="http://schemas.microsoft.com/office/drawing/2014/main" id="{8F097C8E-260E-4879-9D96-F76160179578}"/>
              </a:ext>
            </a:extLst>
          </p:cNvPr>
          <p:cNvGrpSpPr/>
          <p:nvPr/>
        </p:nvGrpSpPr>
        <p:grpSpPr>
          <a:xfrm>
            <a:off x="64552" y="1729563"/>
            <a:ext cx="3795691" cy="5099896"/>
            <a:chOff x="253218" y="301710"/>
            <a:chExt cx="3926312" cy="4848961"/>
          </a:xfrm>
        </p:grpSpPr>
        <p:grpSp>
          <p:nvGrpSpPr>
            <p:cNvPr id="23" name="Grupo 22">
              <a:extLst>
                <a:ext uri="{FF2B5EF4-FFF2-40B4-BE49-F238E27FC236}">
                  <a16:creationId xmlns:a16="http://schemas.microsoft.com/office/drawing/2014/main" id="{B7D44CDE-300F-43C9-A5D8-4BD3B6D3FC95}"/>
                </a:ext>
              </a:extLst>
            </p:cNvPr>
            <p:cNvGrpSpPr/>
            <p:nvPr/>
          </p:nvGrpSpPr>
          <p:grpSpPr>
            <a:xfrm>
              <a:off x="253218" y="643596"/>
              <a:ext cx="3872133" cy="4378570"/>
              <a:chOff x="337625" y="806254"/>
              <a:chExt cx="4015370" cy="4646735"/>
            </a:xfrm>
          </p:grpSpPr>
          <p:pic>
            <p:nvPicPr>
              <p:cNvPr id="48" name="Imagen 47">
                <a:extLst>
                  <a:ext uri="{FF2B5EF4-FFF2-40B4-BE49-F238E27FC236}">
                    <a16:creationId xmlns:a16="http://schemas.microsoft.com/office/drawing/2014/main" id="{2D38C92D-D403-45BC-B66A-34C7EDB29DFF}"/>
                  </a:ext>
                </a:extLst>
              </p:cNvPr>
              <p:cNvPicPr>
                <a:picLocks noChangeAspect="1"/>
              </p:cNvPicPr>
              <p:nvPr/>
            </p:nvPicPr>
            <p:blipFill rotWithShape="1">
              <a:blip r:embed="rId2">
                <a:extLst>
                  <a:ext uri="{BEBA8EAE-BF5A-486C-A8C5-ECC9F3942E4B}">
                    <a14:imgProps xmlns:a14="http://schemas.microsoft.com/office/drawing/2010/main">
                      <a14:imgLayer r:embed="rId3">
                        <a14:imgEffect>
                          <a14:backgroundRemoval t="11719" b="89714" l="31845" r="67423">
                            <a14:foregroundMark x1="34187" y1="62500" x2="31918" y2="66797"/>
                            <a14:foregroundMark x1="32284" y1="64714" x2="35212" y2="65234"/>
                            <a14:foregroundMark x1="48023" y1="17448" x2="52343" y2="11719"/>
                            <a14:foregroundMark x1="52343" y1="11719" x2="52416" y2="11719"/>
                            <a14:foregroundMark x1="57906" y1="89714" x2="57906" y2="89714"/>
                            <a14:foregroundMark x1="58712" y1="87240" x2="58712" y2="87240"/>
                            <a14:foregroundMark x1="66545" y1="60807" x2="66545" y2="60807"/>
                            <a14:foregroundMark x1="67423" y1="62500" x2="67423" y2="62500"/>
                            <a14:foregroundMark x1="64495" y1="44010" x2="64495" y2="44010"/>
                            <a14:foregroundMark x1="63836" y1="63802" x2="63836" y2="63802"/>
                          </a14:backgroundRemoval>
                        </a14:imgEffect>
                      </a14:imgLayer>
                    </a14:imgProps>
                  </a:ext>
                </a:extLst>
              </a:blip>
              <a:srcRect l="29077" t="9911" r="29731" b="5302"/>
              <a:stretch/>
            </p:blipFill>
            <p:spPr>
              <a:xfrm>
                <a:off x="337625" y="806254"/>
                <a:ext cx="4015370" cy="4646735"/>
              </a:xfrm>
              <a:prstGeom prst="rect">
                <a:avLst/>
              </a:prstGeom>
            </p:spPr>
          </p:pic>
          <p:sp>
            <p:nvSpPr>
              <p:cNvPr id="49" name="Elipse 48">
                <a:extLst>
                  <a:ext uri="{FF2B5EF4-FFF2-40B4-BE49-F238E27FC236}">
                    <a16:creationId xmlns:a16="http://schemas.microsoft.com/office/drawing/2014/main" id="{4B72D07E-BB6A-4DF4-BECA-7C340BFE211B}"/>
                  </a:ext>
                </a:extLst>
              </p:cNvPr>
              <p:cNvSpPr/>
              <p:nvPr/>
            </p:nvSpPr>
            <p:spPr>
              <a:xfrm>
                <a:off x="2178148" y="3663048"/>
                <a:ext cx="564988" cy="540000"/>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sp>
            <p:nvSpPr>
              <p:cNvPr id="50" name="Elipse 49">
                <a:extLst>
                  <a:ext uri="{FF2B5EF4-FFF2-40B4-BE49-F238E27FC236}">
                    <a16:creationId xmlns:a16="http://schemas.microsoft.com/office/drawing/2014/main" id="{8B417F48-D3CB-48A9-B9D5-CAAC06D2C22A}"/>
                  </a:ext>
                </a:extLst>
              </p:cNvPr>
              <p:cNvSpPr/>
              <p:nvPr/>
            </p:nvSpPr>
            <p:spPr>
              <a:xfrm>
                <a:off x="1416148" y="1563832"/>
                <a:ext cx="504000" cy="468000"/>
              </a:xfrm>
              <a:prstGeom prst="ellipse">
                <a:avLst/>
              </a:prstGeom>
              <a:solidFill>
                <a:srgbClr val="FF6600"/>
              </a:solidFill>
              <a:ln>
                <a:solidFill>
                  <a:srgbClr val="FF6600"/>
                </a:solid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51" name="Elipse 50">
                <a:extLst>
                  <a:ext uri="{FF2B5EF4-FFF2-40B4-BE49-F238E27FC236}">
                    <a16:creationId xmlns:a16="http://schemas.microsoft.com/office/drawing/2014/main" id="{63F9EB1F-855E-42E1-A48B-F74E2E0760FF}"/>
                  </a:ext>
                </a:extLst>
              </p:cNvPr>
              <p:cNvSpPr/>
              <p:nvPr/>
            </p:nvSpPr>
            <p:spPr>
              <a:xfrm>
                <a:off x="1123163" y="3261130"/>
                <a:ext cx="360000" cy="360000"/>
              </a:xfrm>
              <a:prstGeom prst="ellipse">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52" name="Elipse 51">
                <a:extLst>
                  <a:ext uri="{FF2B5EF4-FFF2-40B4-BE49-F238E27FC236}">
                    <a16:creationId xmlns:a16="http://schemas.microsoft.com/office/drawing/2014/main" id="{20ED9B1C-D350-4672-852D-A07E3759B53D}"/>
                  </a:ext>
                </a:extLst>
              </p:cNvPr>
              <p:cNvSpPr/>
              <p:nvPr/>
            </p:nvSpPr>
            <p:spPr>
              <a:xfrm>
                <a:off x="2713848" y="2790403"/>
                <a:ext cx="324000" cy="324000"/>
              </a:xfrm>
              <a:prstGeom prst="ellipse">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53" name="Elipse 52">
                <a:extLst>
                  <a:ext uri="{FF2B5EF4-FFF2-40B4-BE49-F238E27FC236}">
                    <a16:creationId xmlns:a16="http://schemas.microsoft.com/office/drawing/2014/main" id="{4BEFBA31-C6FB-45BD-824A-853CEA667A54}"/>
                  </a:ext>
                </a:extLst>
              </p:cNvPr>
              <p:cNvSpPr/>
              <p:nvPr/>
            </p:nvSpPr>
            <p:spPr>
              <a:xfrm>
                <a:off x="1613160" y="2310477"/>
                <a:ext cx="564988" cy="540000"/>
              </a:xfrm>
              <a:prstGeom prst="ellipse">
                <a:avLst/>
              </a:prstGeom>
              <a:solidFill>
                <a:srgbClr val="FF6600"/>
              </a:solidFill>
              <a:ln>
                <a:solidFill>
                  <a:srgbClr val="FF6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dirty="0">
                  <a:ln>
                    <a:noFill/>
                  </a:ln>
                  <a:solidFill>
                    <a:srgbClr val="FFFFFF"/>
                  </a:solidFill>
                  <a:effectLst/>
                  <a:uLnTx/>
                  <a:uFillTx/>
                  <a:latin typeface="Arial"/>
                  <a:ea typeface="+mn-ea"/>
                  <a:cs typeface="+mn-cs"/>
                  <a:sym typeface="Arial" panose="020B0604020202020204" pitchFamily="34" charset="0"/>
                </a:endParaRPr>
              </a:p>
            </p:txBody>
          </p:sp>
          <p:grpSp>
            <p:nvGrpSpPr>
              <p:cNvPr id="54" name="Shape 554">
                <a:extLst>
                  <a:ext uri="{FF2B5EF4-FFF2-40B4-BE49-F238E27FC236}">
                    <a16:creationId xmlns:a16="http://schemas.microsoft.com/office/drawing/2014/main" id="{F1891893-34E9-4604-BA27-8C01111769E7}"/>
                  </a:ext>
                </a:extLst>
              </p:cNvPr>
              <p:cNvGrpSpPr>
                <a:grpSpLocks/>
              </p:cNvGrpSpPr>
              <p:nvPr/>
            </p:nvGrpSpPr>
            <p:grpSpPr bwMode="auto">
              <a:xfrm>
                <a:off x="1731114" y="2459565"/>
                <a:ext cx="311150" cy="221095"/>
                <a:chOff x="5275973" y="4429436"/>
                <a:chExt cx="470150" cy="334024"/>
              </a:xfrm>
            </p:grpSpPr>
            <p:sp>
              <p:nvSpPr>
                <p:cNvPr id="59" name="Shape 555">
                  <a:extLst>
                    <a:ext uri="{FF2B5EF4-FFF2-40B4-BE49-F238E27FC236}">
                      <a16:creationId xmlns:a16="http://schemas.microsoft.com/office/drawing/2014/main" id="{5770AEA2-6A68-404C-B81D-96A22039150A}"/>
                    </a:ext>
                  </a:extLst>
                </p:cNvPr>
                <p:cNvSpPr>
                  <a:spLocks noChangeArrowheads="1"/>
                </p:cNvSpPr>
                <p:nvPr/>
              </p:nvSpPr>
              <p:spPr bwMode="auto">
                <a:xfrm>
                  <a:off x="5661250" y="4690450"/>
                  <a:ext cx="65950" cy="52525"/>
                </a:xfrm>
                <a:custGeom>
                  <a:avLst/>
                  <a:gdLst>
                    <a:gd name="T0" fmla="*/ 0 w 2638"/>
                    <a:gd name="T1" fmla="*/ 0 h 2101"/>
                    <a:gd name="T2" fmla="*/ 0 w 2638"/>
                    <a:gd name="T3" fmla="*/ 2147483646 h 2101"/>
                    <a:gd name="T4" fmla="*/ 2147483646 w 2638"/>
                    <a:gd name="T5" fmla="*/ 2147483646 h 2101"/>
                    <a:gd name="T6" fmla="*/ 2147483646 w 2638"/>
                    <a:gd name="T7" fmla="*/ 2147483646 h 2101"/>
                    <a:gd name="T8" fmla="*/ 2147483646 w 2638"/>
                    <a:gd name="T9" fmla="*/ 2147483646 h 2101"/>
                    <a:gd name="T10" fmla="*/ 2147483646 w 2638"/>
                    <a:gd name="T11" fmla="*/ 2147483646 h 2101"/>
                    <a:gd name="T12" fmla="*/ 2147483646 w 2638"/>
                    <a:gd name="T13" fmla="*/ 2147483646 h 2101"/>
                    <a:gd name="T14" fmla="*/ 2147483646 w 2638"/>
                    <a:gd name="T15" fmla="*/ 2147483646 h 2101"/>
                    <a:gd name="T16" fmla="*/ 2147483646 w 2638"/>
                    <a:gd name="T17" fmla="*/ 2147483646 h 2101"/>
                    <a:gd name="T18" fmla="*/ 2147483646 w 2638"/>
                    <a:gd name="T19" fmla="*/ 2147483646 h 2101"/>
                    <a:gd name="T20" fmla="*/ 2147483646 w 2638"/>
                    <a:gd name="T21" fmla="*/ 2147483646 h 2101"/>
                    <a:gd name="T22" fmla="*/ 2147483646 w 2638"/>
                    <a:gd name="T23" fmla="*/ 2147483646 h 2101"/>
                    <a:gd name="T24" fmla="*/ 2147483646 w 2638"/>
                    <a:gd name="T25" fmla="*/ 2147483646 h 2101"/>
                    <a:gd name="T26" fmla="*/ 2147483646 w 2638"/>
                    <a:gd name="T27" fmla="*/ 2147483646 h 2101"/>
                    <a:gd name="T28" fmla="*/ 2147483646 w 2638"/>
                    <a:gd name="T29" fmla="*/ 2147483646 h 2101"/>
                    <a:gd name="T30" fmla="*/ 2147483646 w 2638"/>
                    <a:gd name="T31" fmla="*/ 2147483646 h 2101"/>
                    <a:gd name="T32" fmla="*/ 2147483646 w 2638"/>
                    <a:gd name="T33" fmla="*/ 2147483646 h 2101"/>
                    <a:gd name="T34" fmla="*/ 2147483646 w 2638"/>
                    <a:gd name="T35" fmla="*/ 2147483646 h 2101"/>
                    <a:gd name="T36" fmla="*/ 2147483646 w 2638"/>
                    <a:gd name="T37" fmla="*/ 0 h 2101"/>
                    <a:gd name="T38" fmla="*/ 0 w 2638"/>
                    <a:gd name="T39" fmla="*/ 0 h 2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38"/>
                    <a:gd name="T61" fmla="*/ 0 h 2101"/>
                    <a:gd name="T62" fmla="*/ 2638 w 2638"/>
                    <a:gd name="T63" fmla="*/ 2101 h 2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38" h="2101" extrusionOk="0">
                      <a:moveTo>
                        <a:pt x="0" y="0"/>
                      </a:moveTo>
                      <a:lnTo>
                        <a:pt x="0" y="782"/>
                      </a:lnTo>
                      <a:lnTo>
                        <a:pt x="25" y="1050"/>
                      </a:lnTo>
                      <a:lnTo>
                        <a:pt x="122" y="1295"/>
                      </a:lnTo>
                      <a:lnTo>
                        <a:pt x="244" y="1514"/>
                      </a:lnTo>
                      <a:lnTo>
                        <a:pt x="391" y="1710"/>
                      </a:lnTo>
                      <a:lnTo>
                        <a:pt x="586" y="1856"/>
                      </a:lnTo>
                      <a:lnTo>
                        <a:pt x="806" y="1978"/>
                      </a:lnTo>
                      <a:lnTo>
                        <a:pt x="1050" y="2076"/>
                      </a:lnTo>
                      <a:lnTo>
                        <a:pt x="1319" y="2100"/>
                      </a:lnTo>
                      <a:lnTo>
                        <a:pt x="1588" y="2076"/>
                      </a:lnTo>
                      <a:lnTo>
                        <a:pt x="1832" y="1978"/>
                      </a:lnTo>
                      <a:lnTo>
                        <a:pt x="2052" y="1856"/>
                      </a:lnTo>
                      <a:lnTo>
                        <a:pt x="2247" y="1710"/>
                      </a:lnTo>
                      <a:lnTo>
                        <a:pt x="2418" y="1514"/>
                      </a:lnTo>
                      <a:lnTo>
                        <a:pt x="2540" y="1295"/>
                      </a:lnTo>
                      <a:lnTo>
                        <a:pt x="2613" y="1050"/>
                      </a:lnTo>
                      <a:lnTo>
                        <a:pt x="2638" y="782"/>
                      </a:lnTo>
                      <a:lnTo>
                        <a:pt x="263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60" name="Shape 556">
                  <a:extLst>
                    <a:ext uri="{FF2B5EF4-FFF2-40B4-BE49-F238E27FC236}">
                      <a16:creationId xmlns:a16="http://schemas.microsoft.com/office/drawing/2014/main" id="{E0E7BB46-84BA-4CD5-B9E0-6424DA82DD23}"/>
                    </a:ext>
                  </a:extLst>
                </p:cNvPr>
                <p:cNvSpPr>
                  <a:spLocks noChangeArrowheads="1"/>
                </p:cNvSpPr>
                <p:nvPr/>
              </p:nvSpPr>
              <p:spPr bwMode="auto">
                <a:xfrm>
                  <a:off x="5294900" y="4690450"/>
                  <a:ext cx="65950" cy="52525"/>
                </a:xfrm>
                <a:custGeom>
                  <a:avLst/>
                  <a:gdLst>
                    <a:gd name="T0" fmla="*/ 0 w 2638"/>
                    <a:gd name="T1" fmla="*/ 0 h 2101"/>
                    <a:gd name="T2" fmla="*/ 0 w 2638"/>
                    <a:gd name="T3" fmla="*/ 2147483646 h 2101"/>
                    <a:gd name="T4" fmla="*/ 2147483646 w 2638"/>
                    <a:gd name="T5" fmla="*/ 2147483646 h 2101"/>
                    <a:gd name="T6" fmla="*/ 2147483646 w 2638"/>
                    <a:gd name="T7" fmla="*/ 2147483646 h 2101"/>
                    <a:gd name="T8" fmla="*/ 2147483646 w 2638"/>
                    <a:gd name="T9" fmla="*/ 2147483646 h 2101"/>
                    <a:gd name="T10" fmla="*/ 2147483646 w 2638"/>
                    <a:gd name="T11" fmla="*/ 2147483646 h 2101"/>
                    <a:gd name="T12" fmla="*/ 2147483646 w 2638"/>
                    <a:gd name="T13" fmla="*/ 2147483646 h 2101"/>
                    <a:gd name="T14" fmla="*/ 2147483646 w 2638"/>
                    <a:gd name="T15" fmla="*/ 2147483646 h 2101"/>
                    <a:gd name="T16" fmla="*/ 2147483646 w 2638"/>
                    <a:gd name="T17" fmla="*/ 2147483646 h 2101"/>
                    <a:gd name="T18" fmla="*/ 2147483646 w 2638"/>
                    <a:gd name="T19" fmla="*/ 2147483646 h 2101"/>
                    <a:gd name="T20" fmla="*/ 2147483646 w 2638"/>
                    <a:gd name="T21" fmla="*/ 2147483646 h 2101"/>
                    <a:gd name="T22" fmla="*/ 2147483646 w 2638"/>
                    <a:gd name="T23" fmla="*/ 2147483646 h 2101"/>
                    <a:gd name="T24" fmla="*/ 2147483646 w 2638"/>
                    <a:gd name="T25" fmla="*/ 2147483646 h 2101"/>
                    <a:gd name="T26" fmla="*/ 2147483646 w 2638"/>
                    <a:gd name="T27" fmla="*/ 2147483646 h 2101"/>
                    <a:gd name="T28" fmla="*/ 2147483646 w 2638"/>
                    <a:gd name="T29" fmla="*/ 2147483646 h 2101"/>
                    <a:gd name="T30" fmla="*/ 2147483646 w 2638"/>
                    <a:gd name="T31" fmla="*/ 2147483646 h 2101"/>
                    <a:gd name="T32" fmla="*/ 2147483646 w 2638"/>
                    <a:gd name="T33" fmla="*/ 2147483646 h 2101"/>
                    <a:gd name="T34" fmla="*/ 2147483646 w 2638"/>
                    <a:gd name="T35" fmla="*/ 2147483646 h 2101"/>
                    <a:gd name="T36" fmla="*/ 2147483646 w 2638"/>
                    <a:gd name="T37" fmla="*/ 0 h 2101"/>
                    <a:gd name="T38" fmla="*/ 0 w 2638"/>
                    <a:gd name="T39" fmla="*/ 0 h 21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38"/>
                    <a:gd name="T61" fmla="*/ 0 h 2101"/>
                    <a:gd name="T62" fmla="*/ 2638 w 2638"/>
                    <a:gd name="T63" fmla="*/ 2101 h 21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38" h="2101" extrusionOk="0">
                      <a:moveTo>
                        <a:pt x="0" y="0"/>
                      </a:moveTo>
                      <a:lnTo>
                        <a:pt x="0" y="782"/>
                      </a:lnTo>
                      <a:lnTo>
                        <a:pt x="25" y="1050"/>
                      </a:lnTo>
                      <a:lnTo>
                        <a:pt x="98" y="1295"/>
                      </a:lnTo>
                      <a:lnTo>
                        <a:pt x="220" y="1514"/>
                      </a:lnTo>
                      <a:lnTo>
                        <a:pt x="391" y="1710"/>
                      </a:lnTo>
                      <a:lnTo>
                        <a:pt x="586" y="1856"/>
                      </a:lnTo>
                      <a:lnTo>
                        <a:pt x="806" y="1978"/>
                      </a:lnTo>
                      <a:lnTo>
                        <a:pt x="1050" y="2076"/>
                      </a:lnTo>
                      <a:lnTo>
                        <a:pt x="1319" y="2100"/>
                      </a:lnTo>
                      <a:lnTo>
                        <a:pt x="1588" y="2076"/>
                      </a:lnTo>
                      <a:lnTo>
                        <a:pt x="1832" y="1978"/>
                      </a:lnTo>
                      <a:lnTo>
                        <a:pt x="2052" y="1856"/>
                      </a:lnTo>
                      <a:lnTo>
                        <a:pt x="2247" y="1710"/>
                      </a:lnTo>
                      <a:lnTo>
                        <a:pt x="2394" y="1514"/>
                      </a:lnTo>
                      <a:lnTo>
                        <a:pt x="2516" y="1295"/>
                      </a:lnTo>
                      <a:lnTo>
                        <a:pt x="2614" y="1050"/>
                      </a:lnTo>
                      <a:lnTo>
                        <a:pt x="2638" y="782"/>
                      </a:lnTo>
                      <a:lnTo>
                        <a:pt x="2638" y="0"/>
                      </a:lnTo>
                      <a:lnTo>
                        <a:pt x="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61" name="Shape 557">
                  <a:extLst>
                    <a:ext uri="{FF2B5EF4-FFF2-40B4-BE49-F238E27FC236}">
                      <a16:creationId xmlns:a16="http://schemas.microsoft.com/office/drawing/2014/main" id="{DBA9FA76-7020-423F-92C3-141130C97571}"/>
                    </a:ext>
                  </a:extLst>
                </p:cNvPr>
                <p:cNvSpPr>
                  <a:spLocks noChangeArrowheads="1"/>
                </p:cNvSpPr>
                <p:nvPr/>
              </p:nvSpPr>
              <p:spPr bwMode="auto">
                <a:xfrm>
                  <a:off x="5275973" y="4429436"/>
                  <a:ext cx="470150" cy="334024"/>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55" name="Shape 557">
                <a:extLst>
                  <a:ext uri="{FF2B5EF4-FFF2-40B4-BE49-F238E27FC236}">
                    <a16:creationId xmlns:a16="http://schemas.microsoft.com/office/drawing/2014/main" id="{0C6D6280-BFC5-4250-ADEC-C398FAC925D4}"/>
                  </a:ext>
                </a:extLst>
              </p:cNvPr>
              <p:cNvSpPr>
                <a:spLocks noChangeArrowheads="1"/>
              </p:cNvSpPr>
              <p:nvPr/>
            </p:nvSpPr>
            <p:spPr bwMode="auto">
              <a:xfrm>
                <a:off x="1512573" y="1658571"/>
                <a:ext cx="311150" cy="221096"/>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56" name="Shape 557">
                <a:extLst>
                  <a:ext uri="{FF2B5EF4-FFF2-40B4-BE49-F238E27FC236}">
                    <a16:creationId xmlns:a16="http://schemas.microsoft.com/office/drawing/2014/main" id="{1E4100C2-039C-40D9-A7CD-0AF5D1962091}"/>
                  </a:ext>
                </a:extLst>
              </p:cNvPr>
              <p:cNvSpPr>
                <a:spLocks noChangeArrowheads="1"/>
              </p:cNvSpPr>
              <p:nvPr/>
            </p:nvSpPr>
            <p:spPr bwMode="auto">
              <a:xfrm>
                <a:off x="1179049" y="3330582"/>
                <a:ext cx="251989" cy="171922"/>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57" name="Shape 557">
                <a:extLst>
                  <a:ext uri="{FF2B5EF4-FFF2-40B4-BE49-F238E27FC236}">
                    <a16:creationId xmlns:a16="http://schemas.microsoft.com/office/drawing/2014/main" id="{6A095D02-BA55-44AB-8579-BDDDC955D296}"/>
                  </a:ext>
                </a:extLst>
              </p:cNvPr>
              <p:cNvSpPr>
                <a:spLocks noChangeArrowheads="1"/>
              </p:cNvSpPr>
              <p:nvPr/>
            </p:nvSpPr>
            <p:spPr bwMode="auto">
              <a:xfrm>
                <a:off x="2305067" y="3802093"/>
                <a:ext cx="311150" cy="221096"/>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58" name="Shape 557">
                <a:extLst>
                  <a:ext uri="{FF2B5EF4-FFF2-40B4-BE49-F238E27FC236}">
                    <a16:creationId xmlns:a16="http://schemas.microsoft.com/office/drawing/2014/main" id="{5EB1FDAA-788B-4975-8096-66F01CB60F86}"/>
                  </a:ext>
                </a:extLst>
              </p:cNvPr>
              <p:cNvSpPr>
                <a:spLocks noChangeArrowheads="1"/>
              </p:cNvSpPr>
              <p:nvPr/>
            </p:nvSpPr>
            <p:spPr bwMode="auto">
              <a:xfrm>
                <a:off x="2756362" y="2853244"/>
                <a:ext cx="216000" cy="144000"/>
              </a:xfrm>
              <a:custGeom>
                <a:avLst/>
                <a:gdLst>
                  <a:gd name="T0" fmla="*/ 2147483646 w 18806"/>
                  <a:gd name="T1" fmla="*/ 2147483646 h 13361"/>
                  <a:gd name="T2" fmla="*/ 2147483646 w 18806"/>
                  <a:gd name="T3" fmla="*/ 2147483646 h 13361"/>
                  <a:gd name="T4" fmla="*/ 2147483646 w 18806"/>
                  <a:gd name="T5" fmla="*/ 2147483646 h 13361"/>
                  <a:gd name="T6" fmla="*/ 2147483646 w 18806"/>
                  <a:gd name="T7" fmla="*/ 2147483646 h 13361"/>
                  <a:gd name="T8" fmla="*/ 2147483646 w 18806"/>
                  <a:gd name="T9" fmla="*/ 2147483646 h 13361"/>
                  <a:gd name="T10" fmla="*/ 2147483646 w 18806"/>
                  <a:gd name="T11" fmla="*/ 2147483646 h 13361"/>
                  <a:gd name="T12" fmla="*/ 2147483646 w 18806"/>
                  <a:gd name="T13" fmla="*/ 2147483646 h 13361"/>
                  <a:gd name="T14" fmla="*/ 2147483646 w 18806"/>
                  <a:gd name="T15" fmla="*/ 2147483646 h 13361"/>
                  <a:gd name="T16" fmla="*/ 2147483646 w 18806"/>
                  <a:gd name="T17" fmla="*/ 2147483646 h 13361"/>
                  <a:gd name="T18" fmla="*/ 2147483646 w 18806"/>
                  <a:gd name="T19" fmla="*/ 2147483646 h 13361"/>
                  <a:gd name="T20" fmla="*/ 2147483646 w 18806"/>
                  <a:gd name="T21" fmla="*/ 2147483646 h 13361"/>
                  <a:gd name="T22" fmla="*/ 2147483646 w 18806"/>
                  <a:gd name="T23" fmla="*/ 2147483646 h 13361"/>
                  <a:gd name="T24" fmla="*/ 2147483646 w 18806"/>
                  <a:gd name="T25" fmla="*/ 2147483646 h 13361"/>
                  <a:gd name="T26" fmla="*/ 2147483646 w 18806"/>
                  <a:gd name="T27" fmla="*/ 2147483646 h 13361"/>
                  <a:gd name="T28" fmla="*/ 2147483646 w 18806"/>
                  <a:gd name="T29" fmla="*/ 2147483646 h 13361"/>
                  <a:gd name="T30" fmla="*/ 2147483646 w 18806"/>
                  <a:gd name="T31" fmla="*/ 2147483646 h 13361"/>
                  <a:gd name="T32" fmla="*/ 2147483646 w 18806"/>
                  <a:gd name="T33" fmla="*/ 2147483646 h 13361"/>
                  <a:gd name="T34" fmla="*/ 2147483646 w 18806"/>
                  <a:gd name="T35" fmla="*/ 2147483646 h 13361"/>
                  <a:gd name="T36" fmla="*/ 2147483646 w 18806"/>
                  <a:gd name="T37" fmla="*/ 2147483646 h 13361"/>
                  <a:gd name="T38" fmla="*/ 2147483646 w 18806"/>
                  <a:gd name="T39" fmla="*/ 2147483646 h 13361"/>
                  <a:gd name="T40" fmla="*/ 2147483646 w 18806"/>
                  <a:gd name="T41" fmla="*/ 2147483646 h 13361"/>
                  <a:gd name="T42" fmla="*/ 2147483646 w 18806"/>
                  <a:gd name="T43" fmla="*/ 2147483646 h 13361"/>
                  <a:gd name="T44" fmla="*/ 2147483646 w 18806"/>
                  <a:gd name="T45" fmla="*/ 2147483646 h 13361"/>
                  <a:gd name="T46" fmla="*/ 2147483646 w 18806"/>
                  <a:gd name="T47" fmla="*/ 2147483646 h 13361"/>
                  <a:gd name="T48" fmla="*/ 2147483646 w 18806"/>
                  <a:gd name="T49" fmla="*/ 2147483646 h 13361"/>
                  <a:gd name="T50" fmla="*/ 2147483646 w 18806"/>
                  <a:gd name="T51" fmla="*/ 2147483646 h 13361"/>
                  <a:gd name="T52" fmla="*/ 2147483646 w 18806"/>
                  <a:gd name="T53" fmla="*/ 2147483646 h 13361"/>
                  <a:gd name="T54" fmla="*/ 2147483646 w 18806"/>
                  <a:gd name="T55" fmla="*/ 2147483646 h 13361"/>
                  <a:gd name="T56" fmla="*/ 2147483646 w 18806"/>
                  <a:gd name="T57" fmla="*/ 2147483646 h 13361"/>
                  <a:gd name="T58" fmla="*/ 2147483646 w 18806"/>
                  <a:gd name="T59" fmla="*/ 2147483646 h 13361"/>
                  <a:gd name="T60" fmla="*/ 2147483646 w 18806"/>
                  <a:gd name="T61" fmla="*/ 2147483646 h 13361"/>
                  <a:gd name="T62" fmla="*/ 2147483646 w 18806"/>
                  <a:gd name="T63" fmla="*/ 2147483646 h 13361"/>
                  <a:gd name="T64" fmla="*/ 2147483646 w 18806"/>
                  <a:gd name="T65" fmla="*/ 2147483646 h 13361"/>
                  <a:gd name="T66" fmla="*/ 2147483646 w 18806"/>
                  <a:gd name="T67" fmla="*/ 2147483646 h 13361"/>
                  <a:gd name="T68" fmla="*/ 2147483646 w 18806"/>
                  <a:gd name="T69" fmla="*/ 2147483646 h 13361"/>
                  <a:gd name="T70" fmla="*/ 2147483646 w 18806"/>
                  <a:gd name="T71" fmla="*/ 2147483646 h 13361"/>
                  <a:gd name="T72" fmla="*/ 2147483646 w 18806"/>
                  <a:gd name="T73" fmla="*/ 2147483646 h 13361"/>
                  <a:gd name="T74" fmla="*/ 2147483646 w 18806"/>
                  <a:gd name="T75" fmla="*/ 2147483646 h 13361"/>
                  <a:gd name="T76" fmla="*/ 2147483646 w 18806"/>
                  <a:gd name="T77" fmla="*/ 2147483646 h 13361"/>
                  <a:gd name="T78" fmla="*/ 2147483646 w 18806"/>
                  <a:gd name="T79" fmla="*/ 2147483646 h 13361"/>
                  <a:gd name="T80" fmla="*/ 2147483646 w 18806"/>
                  <a:gd name="T81" fmla="*/ 2147483646 h 13361"/>
                  <a:gd name="T82" fmla="*/ 2147483646 w 18806"/>
                  <a:gd name="T83" fmla="*/ 2147483646 h 13361"/>
                  <a:gd name="T84" fmla="*/ 2147483646 w 18806"/>
                  <a:gd name="T85" fmla="*/ 2147483646 h 13361"/>
                  <a:gd name="T86" fmla="*/ 2147483646 w 18806"/>
                  <a:gd name="T87" fmla="*/ 2147483646 h 13361"/>
                  <a:gd name="T88" fmla="*/ 2147483646 w 18806"/>
                  <a:gd name="T89" fmla="*/ 2147483646 h 13361"/>
                  <a:gd name="T90" fmla="*/ 2147483646 w 18806"/>
                  <a:gd name="T91" fmla="*/ 2147483646 h 13361"/>
                  <a:gd name="T92" fmla="*/ 2147483646 w 18806"/>
                  <a:gd name="T93" fmla="*/ 2147483646 h 13361"/>
                  <a:gd name="T94" fmla="*/ 2147483646 w 18806"/>
                  <a:gd name="T95" fmla="*/ 2147483646 h 13361"/>
                  <a:gd name="T96" fmla="*/ 2147483646 w 18806"/>
                  <a:gd name="T97" fmla="*/ 2147483646 h 13361"/>
                  <a:gd name="T98" fmla="*/ 2147483646 w 18806"/>
                  <a:gd name="T99" fmla="*/ 2147483646 h 13361"/>
                  <a:gd name="T100" fmla="*/ 2147483646 w 18806"/>
                  <a:gd name="T101" fmla="*/ 2147483646 h 13361"/>
                  <a:gd name="T102" fmla="*/ 2147483646 w 18806"/>
                  <a:gd name="T103" fmla="*/ 2147483646 h 13361"/>
                  <a:gd name="T104" fmla="*/ 2147483646 w 18806"/>
                  <a:gd name="T105" fmla="*/ 2147483646 h 1336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8806"/>
                  <a:gd name="T160" fmla="*/ 0 h 13361"/>
                  <a:gd name="T161" fmla="*/ 18806 w 18806"/>
                  <a:gd name="T162" fmla="*/ 13361 h 13361"/>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8806" h="13361" extrusionOk="0">
                    <a:moveTo>
                      <a:pt x="10062" y="1344"/>
                    </a:moveTo>
                    <a:lnTo>
                      <a:pt x="10673" y="1368"/>
                    </a:lnTo>
                    <a:lnTo>
                      <a:pt x="11699" y="1442"/>
                    </a:lnTo>
                    <a:lnTo>
                      <a:pt x="12529" y="1564"/>
                    </a:lnTo>
                    <a:lnTo>
                      <a:pt x="13164" y="1686"/>
                    </a:lnTo>
                    <a:lnTo>
                      <a:pt x="13628" y="1808"/>
                    </a:lnTo>
                    <a:lnTo>
                      <a:pt x="13946" y="1906"/>
                    </a:lnTo>
                    <a:lnTo>
                      <a:pt x="14166" y="2003"/>
                    </a:lnTo>
                    <a:lnTo>
                      <a:pt x="14214" y="2052"/>
                    </a:lnTo>
                    <a:lnTo>
                      <a:pt x="14288" y="2174"/>
                    </a:lnTo>
                    <a:lnTo>
                      <a:pt x="14459" y="2638"/>
                    </a:lnTo>
                    <a:lnTo>
                      <a:pt x="14678" y="3273"/>
                    </a:lnTo>
                    <a:lnTo>
                      <a:pt x="14898" y="4006"/>
                    </a:lnTo>
                    <a:lnTo>
                      <a:pt x="15313" y="5374"/>
                    </a:lnTo>
                    <a:lnTo>
                      <a:pt x="15484" y="5984"/>
                    </a:lnTo>
                    <a:lnTo>
                      <a:pt x="15460" y="6033"/>
                    </a:lnTo>
                    <a:lnTo>
                      <a:pt x="15411" y="6106"/>
                    </a:lnTo>
                    <a:lnTo>
                      <a:pt x="15313" y="6180"/>
                    </a:lnTo>
                    <a:lnTo>
                      <a:pt x="15167" y="6277"/>
                    </a:lnTo>
                    <a:lnTo>
                      <a:pt x="14972" y="6399"/>
                    </a:lnTo>
                    <a:lnTo>
                      <a:pt x="14727" y="6522"/>
                    </a:lnTo>
                    <a:lnTo>
                      <a:pt x="14410" y="6619"/>
                    </a:lnTo>
                    <a:lnTo>
                      <a:pt x="14068" y="6741"/>
                    </a:lnTo>
                    <a:lnTo>
                      <a:pt x="13677" y="6864"/>
                    </a:lnTo>
                    <a:lnTo>
                      <a:pt x="13213" y="6986"/>
                    </a:lnTo>
                    <a:lnTo>
                      <a:pt x="12725" y="7083"/>
                    </a:lnTo>
                    <a:lnTo>
                      <a:pt x="12163" y="7181"/>
                    </a:lnTo>
                    <a:lnTo>
                      <a:pt x="11552" y="7254"/>
                    </a:lnTo>
                    <a:lnTo>
                      <a:pt x="10893" y="7303"/>
                    </a:lnTo>
                    <a:lnTo>
                      <a:pt x="10185" y="7352"/>
                    </a:lnTo>
                    <a:lnTo>
                      <a:pt x="8622" y="7352"/>
                    </a:lnTo>
                    <a:lnTo>
                      <a:pt x="7913" y="7303"/>
                    </a:lnTo>
                    <a:lnTo>
                      <a:pt x="7254" y="7254"/>
                    </a:lnTo>
                    <a:lnTo>
                      <a:pt x="6643" y="7181"/>
                    </a:lnTo>
                    <a:lnTo>
                      <a:pt x="6082" y="7083"/>
                    </a:lnTo>
                    <a:lnTo>
                      <a:pt x="5593" y="6986"/>
                    </a:lnTo>
                    <a:lnTo>
                      <a:pt x="5129" y="6864"/>
                    </a:lnTo>
                    <a:lnTo>
                      <a:pt x="4738" y="6741"/>
                    </a:lnTo>
                    <a:lnTo>
                      <a:pt x="4396" y="6619"/>
                    </a:lnTo>
                    <a:lnTo>
                      <a:pt x="4079" y="6522"/>
                    </a:lnTo>
                    <a:lnTo>
                      <a:pt x="3835" y="6399"/>
                    </a:lnTo>
                    <a:lnTo>
                      <a:pt x="3639" y="6277"/>
                    </a:lnTo>
                    <a:lnTo>
                      <a:pt x="3493" y="6180"/>
                    </a:lnTo>
                    <a:lnTo>
                      <a:pt x="3395" y="6106"/>
                    </a:lnTo>
                    <a:lnTo>
                      <a:pt x="3346" y="6033"/>
                    </a:lnTo>
                    <a:lnTo>
                      <a:pt x="3322" y="5984"/>
                    </a:lnTo>
                    <a:lnTo>
                      <a:pt x="3493" y="5374"/>
                    </a:lnTo>
                    <a:lnTo>
                      <a:pt x="3908" y="4006"/>
                    </a:lnTo>
                    <a:lnTo>
                      <a:pt x="4128" y="3273"/>
                    </a:lnTo>
                    <a:lnTo>
                      <a:pt x="4347" y="2638"/>
                    </a:lnTo>
                    <a:lnTo>
                      <a:pt x="4518" y="2174"/>
                    </a:lnTo>
                    <a:lnTo>
                      <a:pt x="4592" y="2052"/>
                    </a:lnTo>
                    <a:lnTo>
                      <a:pt x="4641" y="2003"/>
                    </a:lnTo>
                    <a:lnTo>
                      <a:pt x="4860" y="1906"/>
                    </a:lnTo>
                    <a:lnTo>
                      <a:pt x="5178" y="1808"/>
                    </a:lnTo>
                    <a:lnTo>
                      <a:pt x="5642" y="1686"/>
                    </a:lnTo>
                    <a:lnTo>
                      <a:pt x="6277" y="1564"/>
                    </a:lnTo>
                    <a:lnTo>
                      <a:pt x="7107" y="1442"/>
                    </a:lnTo>
                    <a:lnTo>
                      <a:pt x="8133" y="1368"/>
                    </a:lnTo>
                    <a:lnTo>
                      <a:pt x="8744" y="1344"/>
                    </a:lnTo>
                    <a:lnTo>
                      <a:pt x="10062" y="1344"/>
                    </a:lnTo>
                    <a:close/>
                    <a:moveTo>
                      <a:pt x="11919" y="9916"/>
                    </a:moveTo>
                    <a:lnTo>
                      <a:pt x="12016" y="9941"/>
                    </a:lnTo>
                    <a:lnTo>
                      <a:pt x="12090" y="9990"/>
                    </a:lnTo>
                    <a:lnTo>
                      <a:pt x="12138" y="10063"/>
                    </a:lnTo>
                    <a:lnTo>
                      <a:pt x="12163" y="10161"/>
                    </a:lnTo>
                    <a:lnTo>
                      <a:pt x="12138" y="10258"/>
                    </a:lnTo>
                    <a:lnTo>
                      <a:pt x="12090" y="10332"/>
                    </a:lnTo>
                    <a:lnTo>
                      <a:pt x="12016" y="10380"/>
                    </a:lnTo>
                    <a:lnTo>
                      <a:pt x="11919" y="10405"/>
                    </a:lnTo>
                    <a:lnTo>
                      <a:pt x="6887" y="10405"/>
                    </a:lnTo>
                    <a:lnTo>
                      <a:pt x="6790" y="10380"/>
                    </a:lnTo>
                    <a:lnTo>
                      <a:pt x="6717" y="10332"/>
                    </a:lnTo>
                    <a:lnTo>
                      <a:pt x="6668" y="10258"/>
                    </a:lnTo>
                    <a:lnTo>
                      <a:pt x="6643" y="10161"/>
                    </a:lnTo>
                    <a:lnTo>
                      <a:pt x="6668" y="10063"/>
                    </a:lnTo>
                    <a:lnTo>
                      <a:pt x="6717" y="9990"/>
                    </a:lnTo>
                    <a:lnTo>
                      <a:pt x="6790" y="9941"/>
                    </a:lnTo>
                    <a:lnTo>
                      <a:pt x="6887" y="9916"/>
                    </a:lnTo>
                    <a:lnTo>
                      <a:pt x="11919" y="9916"/>
                    </a:lnTo>
                    <a:close/>
                    <a:moveTo>
                      <a:pt x="11626" y="10991"/>
                    </a:moveTo>
                    <a:lnTo>
                      <a:pt x="11723" y="11015"/>
                    </a:lnTo>
                    <a:lnTo>
                      <a:pt x="11797" y="11064"/>
                    </a:lnTo>
                    <a:lnTo>
                      <a:pt x="11845" y="11138"/>
                    </a:lnTo>
                    <a:lnTo>
                      <a:pt x="11870" y="11235"/>
                    </a:lnTo>
                    <a:lnTo>
                      <a:pt x="11845" y="11333"/>
                    </a:lnTo>
                    <a:lnTo>
                      <a:pt x="11797" y="11406"/>
                    </a:lnTo>
                    <a:lnTo>
                      <a:pt x="11723" y="11455"/>
                    </a:lnTo>
                    <a:lnTo>
                      <a:pt x="11626" y="11479"/>
                    </a:lnTo>
                    <a:lnTo>
                      <a:pt x="7181" y="11479"/>
                    </a:lnTo>
                    <a:lnTo>
                      <a:pt x="7083" y="11455"/>
                    </a:lnTo>
                    <a:lnTo>
                      <a:pt x="7010" y="11406"/>
                    </a:lnTo>
                    <a:lnTo>
                      <a:pt x="6961" y="11333"/>
                    </a:lnTo>
                    <a:lnTo>
                      <a:pt x="6936" y="11235"/>
                    </a:lnTo>
                    <a:lnTo>
                      <a:pt x="6961" y="11138"/>
                    </a:lnTo>
                    <a:lnTo>
                      <a:pt x="7010" y="11064"/>
                    </a:lnTo>
                    <a:lnTo>
                      <a:pt x="7083" y="11015"/>
                    </a:lnTo>
                    <a:lnTo>
                      <a:pt x="7181" y="10991"/>
                    </a:lnTo>
                    <a:lnTo>
                      <a:pt x="11626" y="10991"/>
                    </a:lnTo>
                    <a:close/>
                    <a:moveTo>
                      <a:pt x="4152" y="9110"/>
                    </a:moveTo>
                    <a:lnTo>
                      <a:pt x="4299" y="9159"/>
                    </a:lnTo>
                    <a:lnTo>
                      <a:pt x="4470" y="9208"/>
                    </a:lnTo>
                    <a:lnTo>
                      <a:pt x="4616" y="9281"/>
                    </a:lnTo>
                    <a:lnTo>
                      <a:pt x="4763" y="9379"/>
                    </a:lnTo>
                    <a:lnTo>
                      <a:pt x="4885" y="9501"/>
                    </a:lnTo>
                    <a:lnTo>
                      <a:pt x="5129" y="9745"/>
                    </a:lnTo>
                    <a:lnTo>
                      <a:pt x="5324" y="10039"/>
                    </a:lnTo>
                    <a:lnTo>
                      <a:pt x="5471" y="10332"/>
                    </a:lnTo>
                    <a:lnTo>
                      <a:pt x="5569" y="10649"/>
                    </a:lnTo>
                    <a:lnTo>
                      <a:pt x="5593" y="10796"/>
                    </a:lnTo>
                    <a:lnTo>
                      <a:pt x="5593" y="10918"/>
                    </a:lnTo>
                    <a:lnTo>
                      <a:pt x="5593" y="11064"/>
                    </a:lnTo>
                    <a:lnTo>
                      <a:pt x="5569" y="11162"/>
                    </a:lnTo>
                    <a:lnTo>
                      <a:pt x="5520" y="11260"/>
                    </a:lnTo>
                    <a:lnTo>
                      <a:pt x="5471" y="11357"/>
                    </a:lnTo>
                    <a:lnTo>
                      <a:pt x="5398" y="11431"/>
                    </a:lnTo>
                    <a:lnTo>
                      <a:pt x="5324" y="11504"/>
                    </a:lnTo>
                    <a:lnTo>
                      <a:pt x="5129" y="11602"/>
                    </a:lnTo>
                    <a:lnTo>
                      <a:pt x="4885" y="11675"/>
                    </a:lnTo>
                    <a:lnTo>
                      <a:pt x="4616" y="11699"/>
                    </a:lnTo>
                    <a:lnTo>
                      <a:pt x="4299" y="11724"/>
                    </a:lnTo>
                    <a:lnTo>
                      <a:pt x="3981" y="11724"/>
                    </a:lnTo>
                    <a:lnTo>
                      <a:pt x="3639" y="11699"/>
                    </a:lnTo>
                    <a:lnTo>
                      <a:pt x="3346" y="11626"/>
                    </a:lnTo>
                    <a:lnTo>
                      <a:pt x="3077" y="11504"/>
                    </a:lnTo>
                    <a:lnTo>
                      <a:pt x="2833" y="11333"/>
                    </a:lnTo>
                    <a:lnTo>
                      <a:pt x="2638" y="11162"/>
                    </a:lnTo>
                    <a:lnTo>
                      <a:pt x="2467" y="10918"/>
                    </a:lnTo>
                    <a:lnTo>
                      <a:pt x="2418" y="10820"/>
                    </a:lnTo>
                    <a:lnTo>
                      <a:pt x="2394" y="10674"/>
                    </a:lnTo>
                    <a:lnTo>
                      <a:pt x="2369" y="10551"/>
                    </a:lnTo>
                    <a:lnTo>
                      <a:pt x="2345" y="10429"/>
                    </a:lnTo>
                    <a:lnTo>
                      <a:pt x="2369" y="10283"/>
                    </a:lnTo>
                    <a:lnTo>
                      <a:pt x="2394" y="10161"/>
                    </a:lnTo>
                    <a:lnTo>
                      <a:pt x="2418" y="10039"/>
                    </a:lnTo>
                    <a:lnTo>
                      <a:pt x="2467" y="9916"/>
                    </a:lnTo>
                    <a:lnTo>
                      <a:pt x="2638" y="9697"/>
                    </a:lnTo>
                    <a:lnTo>
                      <a:pt x="2833" y="9501"/>
                    </a:lnTo>
                    <a:lnTo>
                      <a:pt x="3077" y="9330"/>
                    </a:lnTo>
                    <a:lnTo>
                      <a:pt x="3346" y="9208"/>
                    </a:lnTo>
                    <a:lnTo>
                      <a:pt x="3639" y="9135"/>
                    </a:lnTo>
                    <a:lnTo>
                      <a:pt x="3981" y="9110"/>
                    </a:lnTo>
                    <a:lnTo>
                      <a:pt x="4152" y="9110"/>
                    </a:lnTo>
                    <a:close/>
                    <a:moveTo>
                      <a:pt x="14825" y="9110"/>
                    </a:moveTo>
                    <a:lnTo>
                      <a:pt x="15167" y="9135"/>
                    </a:lnTo>
                    <a:lnTo>
                      <a:pt x="15460" y="9208"/>
                    </a:lnTo>
                    <a:lnTo>
                      <a:pt x="15729" y="9330"/>
                    </a:lnTo>
                    <a:lnTo>
                      <a:pt x="15973" y="9501"/>
                    </a:lnTo>
                    <a:lnTo>
                      <a:pt x="16168" y="9697"/>
                    </a:lnTo>
                    <a:lnTo>
                      <a:pt x="16339" y="9916"/>
                    </a:lnTo>
                    <a:lnTo>
                      <a:pt x="16388" y="10039"/>
                    </a:lnTo>
                    <a:lnTo>
                      <a:pt x="16412" y="10161"/>
                    </a:lnTo>
                    <a:lnTo>
                      <a:pt x="16437" y="10283"/>
                    </a:lnTo>
                    <a:lnTo>
                      <a:pt x="16461" y="10429"/>
                    </a:lnTo>
                    <a:lnTo>
                      <a:pt x="16437" y="10551"/>
                    </a:lnTo>
                    <a:lnTo>
                      <a:pt x="16412" y="10674"/>
                    </a:lnTo>
                    <a:lnTo>
                      <a:pt x="16388" y="10820"/>
                    </a:lnTo>
                    <a:lnTo>
                      <a:pt x="16339" y="10918"/>
                    </a:lnTo>
                    <a:lnTo>
                      <a:pt x="16168" y="11162"/>
                    </a:lnTo>
                    <a:lnTo>
                      <a:pt x="15973" y="11333"/>
                    </a:lnTo>
                    <a:lnTo>
                      <a:pt x="15729" y="11504"/>
                    </a:lnTo>
                    <a:lnTo>
                      <a:pt x="15460" y="11626"/>
                    </a:lnTo>
                    <a:lnTo>
                      <a:pt x="15167" y="11699"/>
                    </a:lnTo>
                    <a:lnTo>
                      <a:pt x="14825" y="11724"/>
                    </a:lnTo>
                    <a:lnTo>
                      <a:pt x="14507" y="11724"/>
                    </a:lnTo>
                    <a:lnTo>
                      <a:pt x="14190" y="11699"/>
                    </a:lnTo>
                    <a:lnTo>
                      <a:pt x="13921" y="11675"/>
                    </a:lnTo>
                    <a:lnTo>
                      <a:pt x="13677" y="11602"/>
                    </a:lnTo>
                    <a:lnTo>
                      <a:pt x="13482" y="11504"/>
                    </a:lnTo>
                    <a:lnTo>
                      <a:pt x="13408" y="11431"/>
                    </a:lnTo>
                    <a:lnTo>
                      <a:pt x="13335" y="11357"/>
                    </a:lnTo>
                    <a:lnTo>
                      <a:pt x="13286" y="11260"/>
                    </a:lnTo>
                    <a:lnTo>
                      <a:pt x="13237" y="11162"/>
                    </a:lnTo>
                    <a:lnTo>
                      <a:pt x="13213" y="11064"/>
                    </a:lnTo>
                    <a:lnTo>
                      <a:pt x="13213" y="10918"/>
                    </a:lnTo>
                    <a:lnTo>
                      <a:pt x="13213" y="10796"/>
                    </a:lnTo>
                    <a:lnTo>
                      <a:pt x="13237" y="10649"/>
                    </a:lnTo>
                    <a:lnTo>
                      <a:pt x="13335" y="10332"/>
                    </a:lnTo>
                    <a:lnTo>
                      <a:pt x="13482" y="10039"/>
                    </a:lnTo>
                    <a:lnTo>
                      <a:pt x="13677" y="9745"/>
                    </a:lnTo>
                    <a:lnTo>
                      <a:pt x="13921" y="9501"/>
                    </a:lnTo>
                    <a:lnTo>
                      <a:pt x="14043" y="9379"/>
                    </a:lnTo>
                    <a:lnTo>
                      <a:pt x="14190" y="9281"/>
                    </a:lnTo>
                    <a:lnTo>
                      <a:pt x="14337" y="9208"/>
                    </a:lnTo>
                    <a:lnTo>
                      <a:pt x="14507" y="9159"/>
                    </a:lnTo>
                    <a:lnTo>
                      <a:pt x="14654" y="9110"/>
                    </a:lnTo>
                    <a:lnTo>
                      <a:pt x="14825" y="9110"/>
                    </a:lnTo>
                    <a:close/>
                    <a:moveTo>
                      <a:pt x="9403" y="1"/>
                    </a:moveTo>
                    <a:lnTo>
                      <a:pt x="8280" y="25"/>
                    </a:lnTo>
                    <a:lnTo>
                      <a:pt x="7303" y="74"/>
                    </a:lnTo>
                    <a:lnTo>
                      <a:pt x="6497" y="147"/>
                    </a:lnTo>
                    <a:lnTo>
                      <a:pt x="5837" y="220"/>
                    </a:lnTo>
                    <a:lnTo>
                      <a:pt x="5324" y="318"/>
                    </a:lnTo>
                    <a:lnTo>
                      <a:pt x="4958" y="391"/>
                    </a:lnTo>
                    <a:lnTo>
                      <a:pt x="4665" y="440"/>
                    </a:lnTo>
                    <a:lnTo>
                      <a:pt x="4421" y="538"/>
                    </a:lnTo>
                    <a:lnTo>
                      <a:pt x="4201" y="660"/>
                    </a:lnTo>
                    <a:lnTo>
                      <a:pt x="3981" y="807"/>
                    </a:lnTo>
                    <a:lnTo>
                      <a:pt x="3761" y="978"/>
                    </a:lnTo>
                    <a:lnTo>
                      <a:pt x="3590" y="1173"/>
                    </a:lnTo>
                    <a:lnTo>
                      <a:pt x="3419" y="1368"/>
                    </a:lnTo>
                    <a:lnTo>
                      <a:pt x="3273" y="1588"/>
                    </a:lnTo>
                    <a:lnTo>
                      <a:pt x="3175" y="1808"/>
                    </a:lnTo>
                    <a:lnTo>
                      <a:pt x="2272" y="4153"/>
                    </a:lnTo>
                    <a:lnTo>
                      <a:pt x="928" y="4153"/>
                    </a:lnTo>
                    <a:lnTo>
                      <a:pt x="831" y="4177"/>
                    </a:lnTo>
                    <a:lnTo>
                      <a:pt x="733" y="4226"/>
                    </a:lnTo>
                    <a:lnTo>
                      <a:pt x="635" y="4299"/>
                    </a:lnTo>
                    <a:lnTo>
                      <a:pt x="464" y="4446"/>
                    </a:lnTo>
                    <a:lnTo>
                      <a:pt x="293" y="4641"/>
                    </a:lnTo>
                    <a:lnTo>
                      <a:pt x="171" y="4861"/>
                    </a:lnTo>
                    <a:lnTo>
                      <a:pt x="73" y="5105"/>
                    </a:lnTo>
                    <a:lnTo>
                      <a:pt x="25" y="5349"/>
                    </a:lnTo>
                    <a:lnTo>
                      <a:pt x="0" y="5569"/>
                    </a:lnTo>
                    <a:lnTo>
                      <a:pt x="25" y="5764"/>
                    </a:lnTo>
                    <a:lnTo>
                      <a:pt x="73" y="5911"/>
                    </a:lnTo>
                    <a:lnTo>
                      <a:pt x="171" y="6033"/>
                    </a:lnTo>
                    <a:lnTo>
                      <a:pt x="293" y="6106"/>
                    </a:lnTo>
                    <a:lnTo>
                      <a:pt x="464" y="6155"/>
                    </a:lnTo>
                    <a:lnTo>
                      <a:pt x="635" y="6204"/>
                    </a:lnTo>
                    <a:lnTo>
                      <a:pt x="1466" y="6204"/>
                    </a:lnTo>
                    <a:lnTo>
                      <a:pt x="1148" y="7034"/>
                    </a:lnTo>
                    <a:lnTo>
                      <a:pt x="1002" y="7547"/>
                    </a:lnTo>
                    <a:lnTo>
                      <a:pt x="879" y="8109"/>
                    </a:lnTo>
                    <a:lnTo>
                      <a:pt x="782" y="8695"/>
                    </a:lnTo>
                    <a:lnTo>
                      <a:pt x="757" y="9233"/>
                    </a:lnTo>
                    <a:lnTo>
                      <a:pt x="757" y="13360"/>
                    </a:lnTo>
                    <a:lnTo>
                      <a:pt x="18049" y="13360"/>
                    </a:lnTo>
                    <a:lnTo>
                      <a:pt x="18049" y="9233"/>
                    </a:lnTo>
                    <a:lnTo>
                      <a:pt x="18024" y="8695"/>
                    </a:lnTo>
                    <a:lnTo>
                      <a:pt x="17927" y="8109"/>
                    </a:lnTo>
                    <a:lnTo>
                      <a:pt x="17805" y="7547"/>
                    </a:lnTo>
                    <a:lnTo>
                      <a:pt x="17658" y="7034"/>
                    </a:lnTo>
                    <a:lnTo>
                      <a:pt x="17341" y="6204"/>
                    </a:lnTo>
                    <a:lnTo>
                      <a:pt x="18171" y="6204"/>
                    </a:lnTo>
                    <a:lnTo>
                      <a:pt x="18342" y="6155"/>
                    </a:lnTo>
                    <a:lnTo>
                      <a:pt x="18513" y="6106"/>
                    </a:lnTo>
                    <a:lnTo>
                      <a:pt x="18635" y="6033"/>
                    </a:lnTo>
                    <a:lnTo>
                      <a:pt x="18733" y="5911"/>
                    </a:lnTo>
                    <a:lnTo>
                      <a:pt x="18782" y="5764"/>
                    </a:lnTo>
                    <a:lnTo>
                      <a:pt x="18806" y="5569"/>
                    </a:lnTo>
                    <a:lnTo>
                      <a:pt x="18782" y="5349"/>
                    </a:lnTo>
                    <a:lnTo>
                      <a:pt x="18733" y="5105"/>
                    </a:lnTo>
                    <a:lnTo>
                      <a:pt x="18635" y="4861"/>
                    </a:lnTo>
                    <a:lnTo>
                      <a:pt x="18513" y="4641"/>
                    </a:lnTo>
                    <a:lnTo>
                      <a:pt x="18342" y="4446"/>
                    </a:lnTo>
                    <a:lnTo>
                      <a:pt x="18171" y="4299"/>
                    </a:lnTo>
                    <a:lnTo>
                      <a:pt x="18073" y="4226"/>
                    </a:lnTo>
                    <a:lnTo>
                      <a:pt x="17976" y="4177"/>
                    </a:lnTo>
                    <a:lnTo>
                      <a:pt x="17878" y="4153"/>
                    </a:lnTo>
                    <a:lnTo>
                      <a:pt x="16535" y="4153"/>
                    </a:lnTo>
                    <a:lnTo>
                      <a:pt x="15631" y="1808"/>
                    </a:lnTo>
                    <a:lnTo>
                      <a:pt x="15533" y="1588"/>
                    </a:lnTo>
                    <a:lnTo>
                      <a:pt x="15387" y="1368"/>
                    </a:lnTo>
                    <a:lnTo>
                      <a:pt x="15216" y="1173"/>
                    </a:lnTo>
                    <a:lnTo>
                      <a:pt x="15045" y="978"/>
                    </a:lnTo>
                    <a:lnTo>
                      <a:pt x="14825" y="807"/>
                    </a:lnTo>
                    <a:lnTo>
                      <a:pt x="14605" y="660"/>
                    </a:lnTo>
                    <a:lnTo>
                      <a:pt x="14385" y="538"/>
                    </a:lnTo>
                    <a:lnTo>
                      <a:pt x="14141" y="440"/>
                    </a:lnTo>
                    <a:lnTo>
                      <a:pt x="13848" y="391"/>
                    </a:lnTo>
                    <a:lnTo>
                      <a:pt x="13482" y="318"/>
                    </a:lnTo>
                    <a:lnTo>
                      <a:pt x="12969" y="220"/>
                    </a:lnTo>
                    <a:lnTo>
                      <a:pt x="12309" y="147"/>
                    </a:lnTo>
                    <a:lnTo>
                      <a:pt x="11503" y="74"/>
                    </a:lnTo>
                    <a:lnTo>
                      <a:pt x="10527" y="25"/>
                    </a:lnTo>
                    <a:lnTo>
                      <a:pt x="9403"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24" name="Elipse 23">
              <a:extLst>
                <a:ext uri="{FF2B5EF4-FFF2-40B4-BE49-F238E27FC236}">
                  <a16:creationId xmlns:a16="http://schemas.microsoft.com/office/drawing/2014/main" id="{A69FE061-45AC-4993-B77B-7A193D7E7D8F}"/>
                </a:ext>
              </a:extLst>
            </p:cNvPr>
            <p:cNvSpPr/>
            <p:nvPr/>
          </p:nvSpPr>
          <p:spPr>
            <a:xfrm>
              <a:off x="2113994" y="301710"/>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grpSp>
          <p:nvGrpSpPr>
            <p:cNvPr id="25" name="Shape 559">
              <a:extLst>
                <a:ext uri="{FF2B5EF4-FFF2-40B4-BE49-F238E27FC236}">
                  <a16:creationId xmlns:a16="http://schemas.microsoft.com/office/drawing/2014/main" id="{12042356-519A-4104-A9B6-F4D9304F28EE}"/>
                </a:ext>
              </a:extLst>
            </p:cNvPr>
            <p:cNvGrpSpPr>
              <a:grpSpLocks/>
            </p:cNvGrpSpPr>
            <p:nvPr/>
          </p:nvGrpSpPr>
          <p:grpSpPr bwMode="auto">
            <a:xfrm>
              <a:off x="2189452" y="357758"/>
              <a:ext cx="215654" cy="229790"/>
              <a:chOff x="6642122" y="4312500"/>
              <a:chExt cx="433853" cy="462825"/>
            </a:xfrm>
          </p:grpSpPr>
          <p:sp>
            <p:nvSpPr>
              <p:cNvPr id="45" name="Shape 560">
                <a:extLst>
                  <a:ext uri="{FF2B5EF4-FFF2-40B4-BE49-F238E27FC236}">
                    <a16:creationId xmlns:a16="http://schemas.microsoft.com/office/drawing/2014/main" id="{8E179969-7AFE-404D-AB12-391B4C97363A}"/>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6" name="Shape 561">
                <a:extLst>
                  <a:ext uri="{FF2B5EF4-FFF2-40B4-BE49-F238E27FC236}">
                    <a16:creationId xmlns:a16="http://schemas.microsoft.com/office/drawing/2014/main" id="{07E367E3-9D68-459C-9BA6-011AF2FAE98E}"/>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7" name="Shape 562">
                <a:extLst>
                  <a:ext uri="{FF2B5EF4-FFF2-40B4-BE49-F238E27FC236}">
                    <a16:creationId xmlns:a16="http://schemas.microsoft.com/office/drawing/2014/main" id="{7E744800-0E6B-422C-8AF3-0C5EA90AF813}"/>
                  </a:ext>
                </a:extLst>
              </p:cNvPr>
              <p:cNvSpPr>
                <a:spLocks noChangeArrowheads="1"/>
              </p:cNvSpPr>
              <p:nvPr/>
            </p:nvSpPr>
            <p:spPr bwMode="auto">
              <a:xfrm>
                <a:off x="6642122"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26" name="Elipse 25">
              <a:extLst>
                <a:ext uri="{FF2B5EF4-FFF2-40B4-BE49-F238E27FC236}">
                  <a16:creationId xmlns:a16="http://schemas.microsoft.com/office/drawing/2014/main" id="{7EF6C5F9-083C-453F-AAE0-7A06F0A4AC9D}"/>
                </a:ext>
              </a:extLst>
            </p:cNvPr>
            <p:cNvSpPr/>
            <p:nvPr/>
          </p:nvSpPr>
          <p:spPr>
            <a:xfrm>
              <a:off x="1523944" y="934169"/>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grpSp>
          <p:nvGrpSpPr>
            <p:cNvPr id="27" name="Shape 559">
              <a:extLst>
                <a:ext uri="{FF2B5EF4-FFF2-40B4-BE49-F238E27FC236}">
                  <a16:creationId xmlns:a16="http://schemas.microsoft.com/office/drawing/2014/main" id="{B8A35184-CD1A-4D12-A56B-44A0AF5F9246}"/>
                </a:ext>
              </a:extLst>
            </p:cNvPr>
            <p:cNvGrpSpPr>
              <a:grpSpLocks/>
            </p:cNvGrpSpPr>
            <p:nvPr/>
          </p:nvGrpSpPr>
          <p:grpSpPr bwMode="auto">
            <a:xfrm>
              <a:off x="1599551" y="990217"/>
              <a:ext cx="215503" cy="229790"/>
              <a:chOff x="6642425" y="4312500"/>
              <a:chExt cx="433550" cy="462825"/>
            </a:xfrm>
          </p:grpSpPr>
          <p:sp>
            <p:nvSpPr>
              <p:cNvPr id="42" name="Shape 560">
                <a:extLst>
                  <a:ext uri="{FF2B5EF4-FFF2-40B4-BE49-F238E27FC236}">
                    <a16:creationId xmlns:a16="http://schemas.microsoft.com/office/drawing/2014/main" id="{9DB52EAC-F136-43E0-81C4-E031DD0F51FD}"/>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3" name="Shape 561">
                <a:extLst>
                  <a:ext uri="{FF2B5EF4-FFF2-40B4-BE49-F238E27FC236}">
                    <a16:creationId xmlns:a16="http://schemas.microsoft.com/office/drawing/2014/main" id="{A64A30F8-88D1-4DF1-BA88-93956D5EC19C}"/>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4" name="Shape 562">
                <a:extLst>
                  <a:ext uri="{FF2B5EF4-FFF2-40B4-BE49-F238E27FC236}">
                    <a16:creationId xmlns:a16="http://schemas.microsoft.com/office/drawing/2014/main" id="{B4A2472D-B973-4B5E-8637-EE3FB684CE99}"/>
                  </a:ext>
                </a:extLst>
              </p:cNvPr>
              <p:cNvSpPr>
                <a:spLocks noChangeArrowheads="1"/>
              </p:cNvSpPr>
              <p:nvPr/>
            </p:nvSpPr>
            <p:spPr bwMode="auto">
              <a:xfrm>
                <a:off x="6684575"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28" name="Elipse 27">
              <a:extLst>
                <a:ext uri="{FF2B5EF4-FFF2-40B4-BE49-F238E27FC236}">
                  <a16:creationId xmlns:a16="http://schemas.microsoft.com/office/drawing/2014/main" id="{B7763F14-21DE-4A9F-BF66-C7D645DB9D33}"/>
                </a:ext>
              </a:extLst>
            </p:cNvPr>
            <p:cNvSpPr/>
            <p:nvPr/>
          </p:nvSpPr>
          <p:spPr>
            <a:xfrm>
              <a:off x="1981042" y="712260"/>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29" name="Shape 538">
              <a:extLst>
                <a:ext uri="{FF2B5EF4-FFF2-40B4-BE49-F238E27FC236}">
                  <a16:creationId xmlns:a16="http://schemas.microsoft.com/office/drawing/2014/main" id="{5101AE20-0403-4E47-8B2F-948A6E9CF2D3}"/>
                </a:ext>
              </a:extLst>
            </p:cNvPr>
            <p:cNvSpPr>
              <a:spLocks noChangeArrowheads="1"/>
            </p:cNvSpPr>
            <p:nvPr/>
          </p:nvSpPr>
          <p:spPr bwMode="auto">
            <a:xfrm>
              <a:off x="2027961" y="787282"/>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0" name="Elipse 29">
              <a:extLst>
                <a:ext uri="{FF2B5EF4-FFF2-40B4-BE49-F238E27FC236}">
                  <a16:creationId xmlns:a16="http://schemas.microsoft.com/office/drawing/2014/main" id="{305067E7-7624-4E35-8D12-7D785F0796C8}"/>
                </a:ext>
              </a:extLst>
            </p:cNvPr>
            <p:cNvSpPr/>
            <p:nvPr/>
          </p:nvSpPr>
          <p:spPr>
            <a:xfrm>
              <a:off x="2030062" y="2397098"/>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31" name="Shape 538">
              <a:extLst>
                <a:ext uri="{FF2B5EF4-FFF2-40B4-BE49-F238E27FC236}">
                  <a16:creationId xmlns:a16="http://schemas.microsoft.com/office/drawing/2014/main" id="{8390219D-7BE1-40F5-AB9F-5D2EBCDCD397}"/>
                </a:ext>
              </a:extLst>
            </p:cNvPr>
            <p:cNvSpPr>
              <a:spLocks noChangeArrowheads="1"/>
            </p:cNvSpPr>
            <p:nvPr/>
          </p:nvSpPr>
          <p:spPr bwMode="auto">
            <a:xfrm>
              <a:off x="2076981" y="2472119"/>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2" name="Elipse 31">
              <a:extLst>
                <a:ext uri="{FF2B5EF4-FFF2-40B4-BE49-F238E27FC236}">
                  <a16:creationId xmlns:a16="http://schemas.microsoft.com/office/drawing/2014/main" id="{1A35B7DD-C9FF-4A83-89D4-5C043475508A}"/>
                </a:ext>
              </a:extLst>
            </p:cNvPr>
            <p:cNvSpPr/>
            <p:nvPr/>
          </p:nvSpPr>
          <p:spPr>
            <a:xfrm>
              <a:off x="1203221" y="2605337"/>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33" name="Shape 538">
              <a:extLst>
                <a:ext uri="{FF2B5EF4-FFF2-40B4-BE49-F238E27FC236}">
                  <a16:creationId xmlns:a16="http://schemas.microsoft.com/office/drawing/2014/main" id="{CDC70D3A-5304-453D-9C94-04BC1E1027C1}"/>
                </a:ext>
              </a:extLst>
            </p:cNvPr>
            <p:cNvSpPr>
              <a:spLocks noChangeArrowheads="1"/>
            </p:cNvSpPr>
            <p:nvPr/>
          </p:nvSpPr>
          <p:spPr bwMode="auto">
            <a:xfrm>
              <a:off x="1250141" y="2680358"/>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4" name="Elipse 33">
              <a:extLst>
                <a:ext uri="{FF2B5EF4-FFF2-40B4-BE49-F238E27FC236}">
                  <a16:creationId xmlns:a16="http://schemas.microsoft.com/office/drawing/2014/main" id="{CACA58E8-B8E9-4B13-B6B7-32D177F89A9E}"/>
                </a:ext>
              </a:extLst>
            </p:cNvPr>
            <p:cNvSpPr/>
            <p:nvPr/>
          </p:nvSpPr>
          <p:spPr>
            <a:xfrm>
              <a:off x="940799" y="3338882"/>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35" name="Shape 538">
              <a:extLst>
                <a:ext uri="{FF2B5EF4-FFF2-40B4-BE49-F238E27FC236}">
                  <a16:creationId xmlns:a16="http://schemas.microsoft.com/office/drawing/2014/main" id="{329E3F81-2008-4B23-BE08-6E20C9E358CB}"/>
                </a:ext>
              </a:extLst>
            </p:cNvPr>
            <p:cNvSpPr>
              <a:spLocks noChangeArrowheads="1"/>
            </p:cNvSpPr>
            <p:nvPr/>
          </p:nvSpPr>
          <p:spPr bwMode="auto">
            <a:xfrm>
              <a:off x="987719" y="3413903"/>
              <a:ext cx="215503" cy="187352"/>
            </a:xfrm>
            <a:custGeom>
              <a:avLst/>
              <a:gdLst>
                <a:gd name="T0" fmla="*/ 2147483646 w 17732"/>
                <a:gd name="T1" fmla="*/ 2147483646 h 17733"/>
                <a:gd name="T2" fmla="*/ 2147483646 w 17732"/>
                <a:gd name="T3" fmla="*/ 2147483646 h 17733"/>
                <a:gd name="T4" fmla="*/ 2147483646 w 17732"/>
                <a:gd name="T5" fmla="*/ 2147483646 h 17733"/>
                <a:gd name="T6" fmla="*/ 2147483646 w 17732"/>
                <a:gd name="T7" fmla="*/ 2147483646 h 17733"/>
                <a:gd name="T8" fmla="*/ 2147483646 w 17732"/>
                <a:gd name="T9" fmla="*/ 2147483646 h 17733"/>
                <a:gd name="T10" fmla="*/ 2147483646 w 17732"/>
                <a:gd name="T11" fmla="*/ 2147483646 h 17733"/>
                <a:gd name="T12" fmla="*/ 2147483646 w 17732"/>
                <a:gd name="T13" fmla="*/ 2147483646 h 17733"/>
                <a:gd name="T14" fmla="*/ 2147483646 w 17732"/>
                <a:gd name="T15" fmla="*/ 2147483646 h 17733"/>
                <a:gd name="T16" fmla="*/ 2147483646 w 17732"/>
                <a:gd name="T17" fmla="*/ 2147483646 h 17733"/>
                <a:gd name="T18" fmla="*/ 2147483646 w 17732"/>
                <a:gd name="T19" fmla="*/ 2147483646 h 17733"/>
                <a:gd name="T20" fmla="*/ 2147483646 w 17732"/>
                <a:gd name="T21" fmla="*/ 2147483646 h 17733"/>
                <a:gd name="T22" fmla="*/ 2147483646 w 17732"/>
                <a:gd name="T23" fmla="*/ 2147483646 h 17733"/>
                <a:gd name="T24" fmla="*/ 2147483646 w 17732"/>
                <a:gd name="T25" fmla="*/ 2147483646 h 17733"/>
                <a:gd name="T26" fmla="*/ 2147483646 w 17732"/>
                <a:gd name="T27" fmla="*/ 2147483646 h 17733"/>
                <a:gd name="T28" fmla="*/ 2147483646 w 17732"/>
                <a:gd name="T29" fmla="*/ 2147483646 h 17733"/>
                <a:gd name="T30" fmla="*/ 2147483646 w 17732"/>
                <a:gd name="T31" fmla="*/ 2147483646 h 17733"/>
                <a:gd name="T32" fmla="*/ 2147483646 w 17732"/>
                <a:gd name="T33" fmla="*/ 2147483646 h 17733"/>
                <a:gd name="T34" fmla="*/ 2147483646 w 17732"/>
                <a:gd name="T35" fmla="*/ 2147483646 h 17733"/>
                <a:gd name="T36" fmla="*/ 2147483646 w 17732"/>
                <a:gd name="T37" fmla="*/ 2147483646 h 17733"/>
                <a:gd name="T38" fmla="*/ 2147483646 w 17732"/>
                <a:gd name="T39" fmla="*/ 2147483646 h 17733"/>
                <a:gd name="T40" fmla="*/ 2147483646 w 17732"/>
                <a:gd name="T41" fmla="*/ 2147483646 h 17733"/>
                <a:gd name="T42" fmla="*/ 2147483646 w 17732"/>
                <a:gd name="T43" fmla="*/ 2147483646 h 17733"/>
                <a:gd name="T44" fmla="*/ 2147483646 w 17732"/>
                <a:gd name="T45" fmla="*/ 2147483646 h 17733"/>
                <a:gd name="T46" fmla="*/ 2147483646 w 17732"/>
                <a:gd name="T47" fmla="*/ 2147483646 h 17733"/>
                <a:gd name="T48" fmla="*/ 2147483646 w 17732"/>
                <a:gd name="T49" fmla="*/ 2147483646 h 17733"/>
                <a:gd name="T50" fmla="*/ 2147483646 w 17732"/>
                <a:gd name="T51" fmla="*/ 2147483646 h 17733"/>
                <a:gd name="T52" fmla="*/ 2147483646 w 17732"/>
                <a:gd name="T53" fmla="*/ 2147483646 h 17733"/>
                <a:gd name="T54" fmla="*/ 2147483646 w 17732"/>
                <a:gd name="T55" fmla="*/ 2147483646 h 17733"/>
                <a:gd name="T56" fmla="*/ 2147483646 w 17732"/>
                <a:gd name="T57" fmla="*/ 2147483646 h 17733"/>
                <a:gd name="T58" fmla="*/ 2147483646 w 17732"/>
                <a:gd name="T59" fmla="*/ 2147483646 h 17733"/>
                <a:gd name="T60" fmla="*/ 2147483646 w 17732"/>
                <a:gd name="T61" fmla="*/ 2147483646 h 17733"/>
                <a:gd name="T62" fmla="*/ 2147483646 w 17732"/>
                <a:gd name="T63" fmla="*/ 2147483646 h 17733"/>
                <a:gd name="T64" fmla="*/ 2147483646 w 17732"/>
                <a:gd name="T65" fmla="*/ 2147483646 h 17733"/>
                <a:gd name="T66" fmla="*/ 2147483646 w 17732"/>
                <a:gd name="T67" fmla="*/ 2147483646 h 17733"/>
                <a:gd name="T68" fmla="*/ 2147483646 w 17732"/>
                <a:gd name="T69" fmla="*/ 2147483646 h 17733"/>
                <a:gd name="T70" fmla="*/ 2147483646 w 17732"/>
                <a:gd name="T71" fmla="*/ 2147483646 h 17733"/>
                <a:gd name="T72" fmla="*/ 2147483646 w 17732"/>
                <a:gd name="T73" fmla="*/ 2147483646 h 17733"/>
                <a:gd name="T74" fmla="*/ 2147483646 w 17732"/>
                <a:gd name="T75" fmla="*/ 2147483646 h 17733"/>
                <a:gd name="T76" fmla="*/ 2147483646 w 17732"/>
                <a:gd name="T77" fmla="*/ 2147483646 h 17733"/>
                <a:gd name="T78" fmla="*/ 2147483646 w 17732"/>
                <a:gd name="T79" fmla="*/ 2147483646 h 17733"/>
                <a:gd name="T80" fmla="*/ 2147483646 w 17732"/>
                <a:gd name="T81" fmla="*/ 2147483646 h 17733"/>
                <a:gd name="T82" fmla="*/ 2147483646 w 17732"/>
                <a:gd name="T83" fmla="*/ 2147483646 h 17733"/>
                <a:gd name="T84" fmla="*/ 2147483646 w 17732"/>
                <a:gd name="T85" fmla="*/ 2147483646 h 17733"/>
                <a:gd name="T86" fmla="*/ 2147483646 w 17732"/>
                <a:gd name="T87" fmla="*/ 2147483646 h 17733"/>
                <a:gd name="T88" fmla="*/ 2147483646 w 17732"/>
                <a:gd name="T89" fmla="*/ 2147483646 h 17733"/>
                <a:gd name="T90" fmla="*/ 2147483646 w 17732"/>
                <a:gd name="T91" fmla="*/ 2147483646 h 17733"/>
                <a:gd name="T92" fmla="*/ 2147483646 w 17732"/>
                <a:gd name="T93" fmla="*/ 2147483646 h 17733"/>
                <a:gd name="T94" fmla="*/ 2147483646 w 17732"/>
                <a:gd name="T95" fmla="*/ 2147483646 h 17733"/>
                <a:gd name="T96" fmla="*/ 2147483646 w 17732"/>
                <a:gd name="T97" fmla="*/ 2147483646 h 17733"/>
                <a:gd name="T98" fmla="*/ 2147483646 w 17732"/>
                <a:gd name="T99" fmla="*/ 2147483646 h 17733"/>
                <a:gd name="T100" fmla="*/ 2147483646 w 17732"/>
                <a:gd name="T101" fmla="*/ 2147483646 h 17733"/>
                <a:gd name="T102" fmla="*/ 2147483646 w 17732"/>
                <a:gd name="T103" fmla="*/ 2147483646 h 17733"/>
                <a:gd name="T104" fmla="*/ 2147483646 w 17732"/>
                <a:gd name="T105" fmla="*/ 2147483646 h 17733"/>
                <a:gd name="T106" fmla="*/ 2147483646 w 17732"/>
                <a:gd name="T107" fmla="*/ 2147483646 h 17733"/>
                <a:gd name="T108" fmla="*/ 2147483646 w 17732"/>
                <a:gd name="T109" fmla="*/ 2147483646 h 1773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7732"/>
                <a:gd name="T166" fmla="*/ 0 h 17733"/>
                <a:gd name="T167" fmla="*/ 17732 w 17732"/>
                <a:gd name="T168" fmla="*/ 17733 h 1773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7732" h="17733" extrusionOk="0">
                  <a:moveTo>
                    <a:pt x="13091" y="2712"/>
                  </a:moveTo>
                  <a:lnTo>
                    <a:pt x="13286" y="2736"/>
                  </a:lnTo>
                  <a:lnTo>
                    <a:pt x="13506" y="2785"/>
                  </a:lnTo>
                  <a:lnTo>
                    <a:pt x="13702" y="2858"/>
                  </a:lnTo>
                  <a:lnTo>
                    <a:pt x="13873" y="2956"/>
                  </a:lnTo>
                  <a:lnTo>
                    <a:pt x="14068" y="3054"/>
                  </a:lnTo>
                  <a:lnTo>
                    <a:pt x="14239" y="3176"/>
                  </a:lnTo>
                  <a:lnTo>
                    <a:pt x="14410" y="3323"/>
                  </a:lnTo>
                  <a:lnTo>
                    <a:pt x="14556" y="3493"/>
                  </a:lnTo>
                  <a:lnTo>
                    <a:pt x="14679" y="3664"/>
                  </a:lnTo>
                  <a:lnTo>
                    <a:pt x="14776" y="3860"/>
                  </a:lnTo>
                  <a:lnTo>
                    <a:pt x="14874" y="4031"/>
                  </a:lnTo>
                  <a:lnTo>
                    <a:pt x="14947" y="4226"/>
                  </a:lnTo>
                  <a:lnTo>
                    <a:pt x="14996" y="4446"/>
                  </a:lnTo>
                  <a:lnTo>
                    <a:pt x="15021" y="4641"/>
                  </a:lnTo>
                  <a:lnTo>
                    <a:pt x="15021" y="4861"/>
                  </a:lnTo>
                  <a:lnTo>
                    <a:pt x="15021" y="5057"/>
                  </a:lnTo>
                  <a:lnTo>
                    <a:pt x="14996" y="5252"/>
                  </a:lnTo>
                  <a:lnTo>
                    <a:pt x="14947" y="5472"/>
                  </a:lnTo>
                  <a:lnTo>
                    <a:pt x="14874" y="5667"/>
                  </a:lnTo>
                  <a:lnTo>
                    <a:pt x="14776" y="5838"/>
                  </a:lnTo>
                  <a:lnTo>
                    <a:pt x="14679" y="6033"/>
                  </a:lnTo>
                  <a:lnTo>
                    <a:pt x="14556" y="6204"/>
                  </a:lnTo>
                  <a:lnTo>
                    <a:pt x="14410" y="6375"/>
                  </a:lnTo>
                  <a:lnTo>
                    <a:pt x="13433" y="7328"/>
                  </a:lnTo>
                  <a:lnTo>
                    <a:pt x="13311" y="7426"/>
                  </a:lnTo>
                  <a:lnTo>
                    <a:pt x="13189" y="7499"/>
                  </a:lnTo>
                  <a:lnTo>
                    <a:pt x="13042" y="7548"/>
                  </a:lnTo>
                  <a:lnTo>
                    <a:pt x="12871" y="7572"/>
                  </a:lnTo>
                  <a:lnTo>
                    <a:pt x="12725" y="7548"/>
                  </a:lnTo>
                  <a:lnTo>
                    <a:pt x="12578" y="7499"/>
                  </a:lnTo>
                  <a:lnTo>
                    <a:pt x="12456" y="7426"/>
                  </a:lnTo>
                  <a:lnTo>
                    <a:pt x="12334" y="7328"/>
                  </a:lnTo>
                  <a:lnTo>
                    <a:pt x="10405" y="5398"/>
                  </a:lnTo>
                  <a:lnTo>
                    <a:pt x="10307" y="5276"/>
                  </a:lnTo>
                  <a:lnTo>
                    <a:pt x="10234" y="5154"/>
                  </a:lnTo>
                  <a:lnTo>
                    <a:pt x="10185" y="5008"/>
                  </a:lnTo>
                  <a:lnTo>
                    <a:pt x="10160" y="4861"/>
                  </a:lnTo>
                  <a:lnTo>
                    <a:pt x="10185" y="4690"/>
                  </a:lnTo>
                  <a:lnTo>
                    <a:pt x="10234" y="4544"/>
                  </a:lnTo>
                  <a:lnTo>
                    <a:pt x="10307" y="4422"/>
                  </a:lnTo>
                  <a:lnTo>
                    <a:pt x="10405" y="4299"/>
                  </a:lnTo>
                  <a:lnTo>
                    <a:pt x="11357" y="3323"/>
                  </a:lnTo>
                  <a:lnTo>
                    <a:pt x="11528" y="3176"/>
                  </a:lnTo>
                  <a:lnTo>
                    <a:pt x="11699" y="3054"/>
                  </a:lnTo>
                  <a:lnTo>
                    <a:pt x="11894" y="2956"/>
                  </a:lnTo>
                  <a:lnTo>
                    <a:pt x="12065" y="2858"/>
                  </a:lnTo>
                  <a:lnTo>
                    <a:pt x="12261" y="2785"/>
                  </a:lnTo>
                  <a:lnTo>
                    <a:pt x="12481" y="2736"/>
                  </a:lnTo>
                  <a:lnTo>
                    <a:pt x="12676" y="2712"/>
                  </a:lnTo>
                  <a:lnTo>
                    <a:pt x="13091" y="2712"/>
                  </a:lnTo>
                  <a:close/>
                  <a:moveTo>
                    <a:pt x="8377" y="8867"/>
                  </a:moveTo>
                  <a:lnTo>
                    <a:pt x="8475" y="8891"/>
                  </a:lnTo>
                  <a:lnTo>
                    <a:pt x="8548" y="8915"/>
                  </a:lnTo>
                  <a:lnTo>
                    <a:pt x="8646" y="8964"/>
                  </a:lnTo>
                  <a:lnTo>
                    <a:pt x="8719" y="9013"/>
                  </a:lnTo>
                  <a:lnTo>
                    <a:pt x="8768" y="9086"/>
                  </a:lnTo>
                  <a:lnTo>
                    <a:pt x="8817" y="9184"/>
                  </a:lnTo>
                  <a:lnTo>
                    <a:pt x="8841" y="9257"/>
                  </a:lnTo>
                  <a:lnTo>
                    <a:pt x="8866" y="9355"/>
                  </a:lnTo>
                  <a:lnTo>
                    <a:pt x="8841" y="9453"/>
                  </a:lnTo>
                  <a:lnTo>
                    <a:pt x="8817" y="9550"/>
                  </a:lnTo>
                  <a:lnTo>
                    <a:pt x="8768" y="9624"/>
                  </a:lnTo>
                  <a:lnTo>
                    <a:pt x="8719" y="9697"/>
                  </a:lnTo>
                  <a:lnTo>
                    <a:pt x="6179" y="12237"/>
                  </a:lnTo>
                  <a:lnTo>
                    <a:pt x="6106" y="12310"/>
                  </a:lnTo>
                  <a:lnTo>
                    <a:pt x="6033" y="12359"/>
                  </a:lnTo>
                  <a:lnTo>
                    <a:pt x="5935" y="12383"/>
                  </a:lnTo>
                  <a:lnTo>
                    <a:pt x="5740" y="12383"/>
                  </a:lnTo>
                  <a:lnTo>
                    <a:pt x="5642" y="12359"/>
                  </a:lnTo>
                  <a:lnTo>
                    <a:pt x="5569" y="12310"/>
                  </a:lnTo>
                  <a:lnTo>
                    <a:pt x="5496" y="12237"/>
                  </a:lnTo>
                  <a:lnTo>
                    <a:pt x="5422" y="12164"/>
                  </a:lnTo>
                  <a:lnTo>
                    <a:pt x="5373" y="12090"/>
                  </a:lnTo>
                  <a:lnTo>
                    <a:pt x="5349" y="11993"/>
                  </a:lnTo>
                  <a:lnTo>
                    <a:pt x="5349" y="11895"/>
                  </a:lnTo>
                  <a:lnTo>
                    <a:pt x="5349" y="11797"/>
                  </a:lnTo>
                  <a:lnTo>
                    <a:pt x="5373" y="11700"/>
                  </a:lnTo>
                  <a:lnTo>
                    <a:pt x="5422" y="11626"/>
                  </a:lnTo>
                  <a:lnTo>
                    <a:pt x="5496" y="11553"/>
                  </a:lnTo>
                  <a:lnTo>
                    <a:pt x="8036" y="9013"/>
                  </a:lnTo>
                  <a:lnTo>
                    <a:pt x="8109" y="8964"/>
                  </a:lnTo>
                  <a:lnTo>
                    <a:pt x="8182" y="8915"/>
                  </a:lnTo>
                  <a:lnTo>
                    <a:pt x="8280" y="8891"/>
                  </a:lnTo>
                  <a:lnTo>
                    <a:pt x="8377" y="8867"/>
                  </a:lnTo>
                  <a:close/>
                  <a:moveTo>
                    <a:pt x="14825" y="1"/>
                  </a:moveTo>
                  <a:lnTo>
                    <a:pt x="14288" y="25"/>
                  </a:lnTo>
                  <a:lnTo>
                    <a:pt x="13751" y="50"/>
                  </a:lnTo>
                  <a:lnTo>
                    <a:pt x="13213" y="123"/>
                  </a:lnTo>
                  <a:lnTo>
                    <a:pt x="12676" y="245"/>
                  </a:lnTo>
                  <a:lnTo>
                    <a:pt x="12163" y="367"/>
                  </a:lnTo>
                  <a:lnTo>
                    <a:pt x="11675" y="538"/>
                  </a:lnTo>
                  <a:lnTo>
                    <a:pt x="11235" y="758"/>
                  </a:lnTo>
                  <a:lnTo>
                    <a:pt x="11015" y="856"/>
                  </a:lnTo>
                  <a:lnTo>
                    <a:pt x="10844" y="1002"/>
                  </a:lnTo>
                  <a:lnTo>
                    <a:pt x="10649" y="1124"/>
                  </a:lnTo>
                  <a:lnTo>
                    <a:pt x="10502" y="1271"/>
                  </a:lnTo>
                  <a:lnTo>
                    <a:pt x="5544" y="6229"/>
                  </a:lnTo>
                  <a:lnTo>
                    <a:pt x="391" y="6229"/>
                  </a:lnTo>
                  <a:lnTo>
                    <a:pt x="245" y="6253"/>
                  </a:lnTo>
                  <a:lnTo>
                    <a:pt x="147" y="6278"/>
                  </a:lnTo>
                  <a:lnTo>
                    <a:pt x="49" y="6327"/>
                  </a:lnTo>
                  <a:lnTo>
                    <a:pt x="0" y="6400"/>
                  </a:lnTo>
                  <a:lnTo>
                    <a:pt x="0" y="6473"/>
                  </a:lnTo>
                  <a:lnTo>
                    <a:pt x="25" y="6571"/>
                  </a:lnTo>
                  <a:lnTo>
                    <a:pt x="74" y="6668"/>
                  </a:lnTo>
                  <a:lnTo>
                    <a:pt x="171" y="6791"/>
                  </a:lnTo>
                  <a:lnTo>
                    <a:pt x="2589" y="9184"/>
                  </a:lnTo>
                  <a:lnTo>
                    <a:pt x="2272" y="9502"/>
                  </a:lnTo>
                  <a:lnTo>
                    <a:pt x="953" y="9746"/>
                  </a:lnTo>
                  <a:lnTo>
                    <a:pt x="806" y="9795"/>
                  </a:lnTo>
                  <a:lnTo>
                    <a:pt x="684" y="9843"/>
                  </a:lnTo>
                  <a:lnTo>
                    <a:pt x="611" y="9941"/>
                  </a:lnTo>
                  <a:lnTo>
                    <a:pt x="562" y="10014"/>
                  </a:lnTo>
                  <a:lnTo>
                    <a:pt x="562" y="10112"/>
                  </a:lnTo>
                  <a:lnTo>
                    <a:pt x="586" y="10234"/>
                  </a:lnTo>
                  <a:lnTo>
                    <a:pt x="635" y="10332"/>
                  </a:lnTo>
                  <a:lnTo>
                    <a:pt x="733" y="10454"/>
                  </a:lnTo>
                  <a:lnTo>
                    <a:pt x="7278" y="16999"/>
                  </a:lnTo>
                  <a:lnTo>
                    <a:pt x="7401" y="17097"/>
                  </a:lnTo>
                  <a:lnTo>
                    <a:pt x="7498" y="17146"/>
                  </a:lnTo>
                  <a:lnTo>
                    <a:pt x="7620" y="17170"/>
                  </a:lnTo>
                  <a:lnTo>
                    <a:pt x="7718" y="17170"/>
                  </a:lnTo>
                  <a:lnTo>
                    <a:pt x="7791" y="17122"/>
                  </a:lnTo>
                  <a:lnTo>
                    <a:pt x="7889" y="17048"/>
                  </a:lnTo>
                  <a:lnTo>
                    <a:pt x="7938" y="16926"/>
                  </a:lnTo>
                  <a:lnTo>
                    <a:pt x="7987" y="16780"/>
                  </a:lnTo>
                  <a:lnTo>
                    <a:pt x="8231" y="15461"/>
                  </a:lnTo>
                  <a:lnTo>
                    <a:pt x="8548" y="15143"/>
                  </a:lnTo>
                  <a:lnTo>
                    <a:pt x="10942" y="17561"/>
                  </a:lnTo>
                  <a:lnTo>
                    <a:pt x="11064" y="17659"/>
                  </a:lnTo>
                  <a:lnTo>
                    <a:pt x="11162" y="17708"/>
                  </a:lnTo>
                  <a:lnTo>
                    <a:pt x="11259" y="17732"/>
                  </a:lnTo>
                  <a:lnTo>
                    <a:pt x="11333" y="17732"/>
                  </a:lnTo>
                  <a:lnTo>
                    <a:pt x="11406" y="17683"/>
                  </a:lnTo>
                  <a:lnTo>
                    <a:pt x="11455" y="17586"/>
                  </a:lnTo>
                  <a:lnTo>
                    <a:pt x="11479" y="17488"/>
                  </a:lnTo>
                  <a:lnTo>
                    <a:pt x="11504" y="17341"/>
                  </a:lnTo>
                  <a:lnTo>
                    <a:pt x="11504" y="12188"/>
                  </a:lnTo>
                  <a:lnTo>
                    <a:pt x="16461" y="7230"/>
                  </a:lnTo>
                  <a:lnTo>
                    <a:pt x="16608" y="7084"/>
                  </a:lnTo>
                  <a:lnTo>
                    <a:pt x="16730" y="6888"/>
                  </a:lnTo>
                  <a:lnTo>
                    <a:pt x="16877" y="6693"/>
                  </a:lnTo>
                  <a:lnTo>
                    <a:pt x="16974" y="6498"/>
                  </a:lnTo>
                  <a:lnTo>
                    <a:pt x="17194" y="6058"/>
                  </a:lnTo>
                  <a:lnTo>
                    <a:pt x="17365" y="5569"/>
                  </a:lnTo>
                  <a:lnTo>
                    <a:pt x="17487" y="5057"/>
                  </a:lnTo>
                  <a:lnTo>
                    <a:pt x="17609" y="4519"/>
                  </a:lnTo>
                  <a:lnTo>
                    <a:pt x="17683" y="3982"/>
                  </a:lnTo>
                  <a:lnTo>
                    <a:pt x="17707" y="3445"/>
                  </a:lnTo>
                  <a:lnTo>
                    <a:pt x="17731" y="2907"/>
                  </a:lnTo>
                  <a:lnTo>
                    <a:pt x="17731" y="2419"/>
                  </a:lnTo>
                  <a:lnTo>
                    <a:pt x="17707" y="1955"/>
                  </a:lnTo>
                  <a:lnTo>
                    <a:pt x="17658" y="1515"/>
                  </a:lnTo>
                  <a:lnTo>
                    <a:pt x="17585" y="1149"/>
                  </a:lnTo>
                  <a:lnTo>
                    <a:pt x="17512" y="831"/>
                  </a:lnTo>
                  <a:lnTo>
                    <a:pt x="17414" y="587"/>
                  </a:lnTo>
                  <a:lnTo>
                    <a:pt x="17341" y="489"/>
                  </a:lnTo>
                  <a:lnTo>
                    <a:pt x="17292" y="441"/>
                  </a:lnTo>
                  <a:lnTo>
                    <a:pt x="17243" y="392"/>
                  </a:lnTo>
                  <a:lnTo>
                    <a:pt x="17145" y="318"/>
                  </a:lnTo>
                  <a:lnTo>
                    <a:pt x="16901" y="221"/>
                  </a:lnTo>
                  <a:lnTo>
                    <a:pt x="16584" y="148"/>
                  </a:lnTo>
                  <a:lnTo>
                    <a:pt x="16217" y="74"/>
                  </a:lnTo>
                  <a:lnTo>
                    <a:pt x="15778" y="25"/>
                  </a:lnTo>
                  <a:lnTo>
                    <a:pt x="15314" y="1"/>
                  </a:lnTo>
                  <a:lnTo>
                    <a:pt x="14825"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36" name="Elipse 35">
              <a:extLst>
                <a:ext uri="{FF2B5EF4-FFF2-40B4-BE49-F238E27FC236}">
                  <a16:creationId xmlns:a16="http://schemas.microsoft.com/office/drawing/2014/main" id="{FF05E513-026C-4C93-A0FB-7F6E4FD4BB11}"/>
                </a:ext>
              </a:extLst>
            </p:cNvPr>
            <p:cNvSpPr/>
            <p:nvPr/>
          </p:nvSpPr>
          <p:spPr>
            <a:xfrm>
              <a:off x="371891" y="2924111"/>
              <a:ext cx="338871" cy="341886"/>
            </a:xfrm>
            <a:prstGeom prst="ellipse">
              <a:avLst/>
            </a:prstGeom>
            <a:solidFill>
              <a:schemeClr val="tx2">
                <a:lumMod val="75000"/>
              </a:schemeClr>
            </a:solidFill>
            <a:ln>
              <a:no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CO"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grpSp>
          <p:nvGrpSpPr>
            <p:cNvPr id="37" name="Shape 559">
              <a:extLst>
                <a:ext uri="{FF2B5EF4-FFF2-40B4-BE49-F238E27FC236}">
                  <a16:creationId xmlns:a16="http://schemas.microsoft.com/office/drawing/2014/main" id="{B0D64B0F-2E9D-42EC-8C8C-F0A66A1D20B5}"/>
                </a:ext>
              </a:extLst>
            </p:cNvPr>
            <p:cNvGrpSpPr>
              <a:grpSpLocks/>
            </p:cNvGrpSpPr>
            <p:nvPr/>
          </p:nvGrpSpPr>
          <p:grpSpPr bwMode="auto">
            <a:xfrm>
              <a:off x="447349" y="2980159"/>
              <a:ext cx="215654" cy="229790"/>
              <a:chOff x="6642122" y="4312500"/>
              <a:chExt cx="433853" cy="462825"/>
            </a:xfrm>
          </p:grpSpPr>
          <p:sp>
            <p:nvSpPr>
              <p:cNvPr id="39" name="Shape 560">
                <a:extLst>
                  <a:ext uri="{FF2B5EF4-FFF2-40B4-BE49-F238E27FC236}">
                    <a16:creationId xmlns:a16="http://schemas.microsoft.com/office/drawing/2014/main" id="{17989AEC-8E03-4566-B877-58335E5F25D4}"/>
                  </a:ext>
                </a:extLst>
              </p:cNvPr>
              <p:cNvSpPr>
                <a:spLocks noChangeArrowheads="1"/>
              </p:cNvSpPr>
              <p:nvPr/>
            </p:nvSpPr>
            <p:spPr bwMode="auto">
              <a:xfrm>
                <a:off x="6642425" y="4687375"/>
                <a:ext cx="433550" cy="39125"/>
              </a:xfrm>
              <a:custGeom>
                <a:avLst/>
                <a:gdLst>
                  <a:gd name="T0" fmla="*/ 2147483646 w 17342"/>
                  <a:gd name="T1" fmla="*/ 2147483646 h 1565"/>
                  <a:gd name="T2" fmla="*/ 2147483646 w 17342"/>
                  <a:gd name="T3" fmla="*/ 2147483646 h 1565"/>
                  <a:gd name="T4" fmla="*/ 2147483646 w 17342"/>
                  <a:gd name="T5" fmla="*/ 2147483646 h 1565"/>
                  <a:gd name="T6" fmla="*/ 2147483646 w 17342"/>
                  <a:gd name="T7" fmla="*/ 2147483646 h 1565"/>
                  <a:gd name="T8" fmla="*/ 2147483646 w 17342"/>
                  <a:gd name="T9" fmla="*/ 2147483646 h 1565"/>
                  <a:gd name="T10" fmla="*/ 2147483646 w 17342"/>
                  <a:gd name="T11" fmla="*/ 2147483646 h 1565"/>
                  <a:gd name="T12" fmla="*/ 2147483646 w 17342"/>
                  <a:gd name="T13" fmla="*/ 2147483646 h 1565"/>
                  <a:gd name="T14" fmla="*/ 2147483646 w 17342"/>
                  <a:gd name="T15" fmla="*/ 2147483646 h 1565"/>
                  <a:gd name="T16" fmla="*/ 2147483646 w 17342"/>
                  <a:gd name="T17" fmla="*/ 2147483646 h 1565"/>
                  <a:gd name="T18" fmla="*/ 2147483646 w 17342"/>
                  <a:gd name="T19" fmla="*/ 2147483646 h 1565"/>
                  <a:gd name="T20" fmla="*/ 2147483646 w 17342"/>
                  <a:gd name="T21" fmla="*/ 2147483646 h 1565"/>
                  <a:gd name="T22" fmla="*/ 2147483646 w 17342"/>
                  <a:gd name="T23" fmla="*/ 2147483646 h 1565"/>
                  <a:gd name="T24" fmla="*/ 2147483646 w 17342"/>
                  <a:gd name="T25" fmla="*/ 2147483646 h 1565"/>
                  <a:gd name="T26" fmla="*/ 2147483646 w 17342"/>
                  <a:gd name="T27" fmla="*/ 2147483646 h 1565"/>
                  <a:gd name="T28" fmla="*/ 2147483646 w 17342"/>
                  <a:gd name="T29" fmla="*/ 2147483646 h 1565"/>
                  <a:gd name="T30" fmla="*/ 2147483646 w 17342"/>
                  <a:gd name="T31" fmla="*/ 2147483646 h 1565"/>
                  <a:gd name="T32" fmla="*/ 2147483646 w 17342"/>
                  <a:gd name="T33" fmla="*/ 2147483646 h 1565"/>
                  <a:gd name="T34" fmla="*/ 2147483646 w 17342"/>
                  <a:gd name="T35" fmla="*/ 2147483646 h 1565"/>
                  <a:gd name="T36" fmla="*/ 2147483646 w 17342"/>
                  <a:gd name="T37" fmla="*/ 2147483646 h 1565"/>
                  <a:gd name="T38" fmla="*/ 2147483646 w 17342"/>
                  <a:gd name="T39" fmla="*/ 2147483646 h 1565"/>
                  <a:gd name="T40" fmla="*/ 2147483646 w 17342"/>
                  <a:gd name="T41" fmla="*/ 2147483646 h 1565"/>
                  <a:gd name="T42" fmla="*/ 2147483646 w 17342"/>
                  <a:gd name="T43" fmla="*/ 2147483646 h 1565"/>
                  <a:gd name="T44" fmla="*/ 2147483646 w 17342"/>
                  <a:gd name="T45" fmla="*/ 2147483646 h 1565"/>
                  <a:gd name="T46" fmla="*/ 2147483646 w 17342"/>
                  <a:gd name="T47" fmla="*/ 2147483646 h 1565"/>
                  <a:gd name="T48" fmla="*/ 2147483646 w 17342"/>
                  <a:gd name="T49" fmla="*/ 2147483646 h 1565"/>
                  <a:gd name="T50" fmla="*/ 2147483646 w 17342"/>
                  <a:gd name="T51" fmla="*/ 2147483646 h 1565"/>
                  <a:gd name="T52" fmla="*/ 2147483646 w 17342"/>
                  <a:gd name="T53" fmla="*/ 2147483646 h 1565"/>
                  <a:gd name="T54" fmla="*/ 2147483646 w 17342"/>
                  <a:gd name="T55" fmla="*/ 2147483646 h 1565"/>
                  <a:gd name="T56" fmla="*/ 2147483646 w 17342"/>
                  <a:gd name="T57" fmla="*/ 2147483646 h 1565"/>
                  <a:gd name="T58" fmla="*/ 2147483646 w 17342"/>
                  <a:gd name="T59" fmla="*/ 2147483646 h 1565"/>
                  <a:gd name="T60" fmla="*/ 2147483646 w 17342"/>
                  <a:gd name="T61" fmla="*/ 2147483646 h 1565"/>
                  <a:gd name="T62" fmla="*/ 2147483646 w 17342"/>
                  <a:gd name="T63" fmla="*/ 2147483646 h 1565"/>
                  <a:gd name="T64" fmla="*/ 2147483646 w 17342"/>
                  <a:gd name="T65" fmla="*/ 2147483646 h 1565"/>
                  <a:gd name="T66" fmla="*/ 2147483646 w 17342"/>
                  <a:gd name="T67" fmla="*/ 2147483646 h 1565"/>
                  <a:gd name="T68" fmla="*/ 2147483646 w 17342"/>
                  <a:gd name="T69" fmla="*/ 2147483646 h 1565"/>
                  <a:gd name="T70" fmla="*/ 2147483646 w 17342"/>
                  <a:gd name="T71" fmla="*/ 2147483646 h 1565"/>
                  <a:gd name="T72" fmla="*/ 2147483646 w 17342"/>
                  <a:gd name="T73" fmla="*/ 2147483646 h 1565"/>
                  <a:gd name="T74" fmla="*/ 2147483646 w 17342"/>
                  <a:gd name="T75" fmla="*/ 2147483646 h 1565"/>
                  <a:gd name="T76" fmla="*/ 2147483646 w 17342"/>
                  <a:gd name="T77" fmla="*/ 2147483646 h 1565"/>
                  <a:gd name="T78" fmla="*/ 2147483646 w 17342"/>
                  <a:gd name="T79" fmla="*/ 2147483646 h 1565"/>
                  <a:gd name="T80" fmla="*/ 2147483646 w 17342"/>
                  <a:gd name="T81" fmla="*/ 2147483646 h 1565"/>
                  <a:gd name="T82" fmla="*/ 2147483646 w 17342"/>
                  <a:gd name="T83" fmla="*/ 2147483646 h 1565"/>
                  <a:gd name="T84" fmla="*/ 2147483646 w 17342"/>
                  <a:gd name="T85" fmla="*/ 2147483646 h 1565"/>
                  <a:gd name="T86" fmla="*/ 2147483646 w 17342"/>
                  <a:gd name="T87" fmla="*/ 2147483646 h 1565"/>
                  <a:gd name="T88" fmla="*/ 2147483646 w 17342"/>
                  <a:gd name="T89" fmla="*/ 2147483646 h 1565"/>
                  <a:gd name="T90" fmla="*/ 2147483646 w 17342"/>
                  <a:gd name="T91" fmla="*/ 2147483646 h 1565"/>
                  <a:gd name="T92" fmla="*/ 2147483646 w 17342"/>
                  <a:gd name="T93" fmla="*/ 2147483646 h 1565"/>
                  <a:gd name="T94" fmla="*/ 2147483646 w 17342"/>
                  <a:gd name="T95" fmla="*/ 2147483646 h 1565"/>
                  <a:gd name="T96" fmla="*/ 2147483646 w 17342"/>
                  <a:gd name="T97" fmla="*/ 2147483646 h 1565"/>
                  <a:gd name="T98" fmla="*/ 2147483646 w 17342"/>
                  <a:gd name="T99" fmla="*/ 2147483646 h 1565"/>
                  <a:gd name="T100" fmla="*/ 2147483646 w 17342"/>
                  <a:gd name="T101" fmla="*/ 2147483646 h 1565"/>
                  <a:gd name="T102" fmla="*/ 2147483646 w 17342"/>
                  <a:gd name="T103" fmla="*/ 2147483646 h 1565"/>
                  <a:gd name="T104" fmla="*/ 2147483646 w 17342"/>
                  <a:gd name="T105" fmla="*/ 2147483646 h 1565"/>
                  <a:gd name="T106" fmla="*/ 2147483646 w 17342"/>
                  <a:gd name="T107" fmla="*/ 2147483646 h 1565"/>
                  <a:gd name="T108" fmla="*/ 2147483646 w 17342"/>
                  <a:gd name="T109" fmla="*/ 2147483646 h 1565"/>
                  <a:gd name="T110" fmla="*/ 2147483646 w 17342"/>
                  <a:gd name="T111" fmla="*/ 2147483646 h 1565"/>
                  <a:gd name="T112" fmla="*/ 2147483646 w 17342"/>
                  <a:gd name="T113" fmla="*/ 2147483646 h 1565"/>
                  <a:gd name="T114" fmla="*/ 2147483646 w 17342"/>
                  <a:gd name="T115" fmla="*/ 2147483646 h 1565"/>
                  <a:gd name="T116" fmla="*/ 2147483646 w 17342"/>
                  <a:gd name="T117" fmla="*/ 2147483646 h 1565"/>
                  <a:gd name="T118" fmla="*/ 2147483646 w 17342"/>
                  <a:gd name="T119" fmla="*/ 2147483646 h 1565"/>
                  <a:gd name="T120" fmla="*/ 2147483646 w 17342"/>
                  <a:gd name="T121" fmla="*/ 2147483646 h 156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5"/>
                  <a:gd name="T185" fmla="*/ 17342 w 17342"/>
                  <a:gd name="T186" fmla="*/ 1565 h 156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5" extrusionOk="0">
                    <a:moveTo>
                      <a:pt x="489" y="1"/>
                    </a:moveTo>
                    <a:lnTo>
                      <a:pt x="392" y="25"/>
                    </a:lnTo>
                    <a:lnTo>
                      <a:pt x="294" y="50"/>
                    </a:lnTo>
                    <a:lnTo>
                      <a:pt x="221" y="99"/>
                    </a:lnTo>
                    <a:lnTo>
                      <a:pt x="147" y="148"/>
                    </a:lnTo>
                    <a:lnTo>
                      <a:pt x="74" y="221"/>
                    </a:lnTo>
                    <a:lnTo>
                      <a:pt x="25" y="318"/>
                    </a:lnTo>
                    <a:lnTo>
                      <a:pt x="1" y="392"/>
                    </a:lnTo>
                    <a:lnTo>
                      <a:pt x="1" y="489"/>
                    </a:lnTo>
                    <a:lnTo>
                      <a:pt x="1" y="612"/>
                    </a:lnTo>
                    <a:lnTo>
                      <a:pt x="25" y="685"/>
                    </a:lnTo>
                    <a:lnTo>
                      <a:pt x="74" y="783"/>
                    </a:lnTo>
                    <a:lnTo>
                      <a:pt x="147" y="856"/>
                    </a:lnTo>
                    <a:lnTo>
                      <a:pt x="221" y="905"/>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40"/>
                    </a:lnTo>
                    <a:lnTo>
                      <a:pt x="2297" y="1564"/>
                    </a:lnTo>
                    <a:lnTo>
                      <a:pt x="2761" y="1564"/>
                    </a:lnTo>
                    <a:lnTo>
                      <a:pt x="2956" y="1540"/>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40"/>
                    </a:lnTo>
                    <a:lnTo>
                      <a:pt x="6400" y="1564"/>
                    </a:lnTo>
                    <a:lnTo>
                      <a:pt x="6839" y="1564"/>
                    </a:lnTo>
                    <a:lnTo>
                      <a:pt x="7059" y="1540"/>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40"/>
                    </a:lnTo>
                    <a:lnTo>
                      <a:pt x="10478" y="1564"/>
                    </a:lnTo>
                    <a:lnTo>
                      <a:pt x="10942" y="1564"/>
                    </a:lnTo>
                    <a:lnTo>
                      <a:pt x="11138" y="1540"/>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40"/>
                    </a:lnTo>
                    <a:lnTo>
                      <a:pt x="14581" y="1564"/>
                    </a:lnTo>
                    <a:lnTo>
                      <a:pt x="15046" y="1564"/>
                    </a:lnTo>
                    <a:lnTo>
                      <a:pt x="15241" y="1540"/>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5"/>
                    </a:lnTo>
                    <a:lnTo>
                      <a:pt x="17195" y="856"/>
                    </a:lnTo>
                    <a:lnTo>
                      <a:pt x="17268" y="783"/>
                    </a:lnTo>
                    <a:lnTo>
                      <a:pt x="17317" y="685"/>
                    </a:lnTo>
                    <a:lnTo>
                      <a:pt x="17341" y="612"/>
                    </a:lnTo>
                    <a:lnTo>
                      <a:pt x="17341" y="489"/>
                    </a:lnTo>
                    <a:lnTo>
                      <a:pt x="17341" y="392"/>
                    </a:lnTo>
                    <a:lnTo>
                      <a:pt x="17317" y="318"/>
                    </a:lnTo>
                    <a:lnTo>
                      <a:pt x="17268" y="221"/>
                    </a:lnTo>
                    <a:lnTo>
                      <a:pt x="17195" y="148"/>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0" name="Shape 561">
                <a:extLst>
                  <a:ext uri="{FF2B5EF4-FFF2-40B4-BE49-F238E27FC236}">
                    <a16:creationId xmlns:a16="http://schemas.microsoft.com/office/drawing/2014/main" id="{C0010D40-30BD-4A7F-A600-CFD0F1DD8BA2}"/>
                  </a:ext>
                </a:extLst>
              </p:cNvPr>
              <p:cNvSpPr>
                <a:spLocks noChangeArrowheads="1"/>
              </p:cNvSpPr>
              <p:nvPr/>
            </p:nvSpPr>
            <p:spPr bwMode="auto">
              <a:xfrm>
                <a:off x="6642425" y="4736225"/>
                <a:ext cx="433550" cy="39100"/>
              </a:xfrm>
              <a:custGeom>
                <a:avLst/>
                <a:gdLst>
                  <a:gd name="T0" fmla="*/ 2147483646 w 17342"/>
                  <a:gd name="T1" fmla="*/ 2147483646 h 1564"/>
                  <a:gd name="T2" fmla="*/ 2147483646 w 17342"/>
                  <a:gd name="T3" fmla="*/ 2147483646 h 1564"/>
                  <a:gd name="T4" fmla="*/ 2147483646 w 17342"/>
                  <a:gd name="T5" fmla="*/ 2147483646 h 1564"/>
                  <a:gd name="T6" fmla="*/ 2147483646 w 17342"/>
                  <a:gd name="T7" fmla="*/ 2147483646 h 1564"/>
                  <a:gd name="T8" fmla="*/ 2147483646 w 17342"/>
                  <a:gd name="T9" fmla="*/ 2147483646 h 1564"/>
                  <a:gd name="T10" fmla="*/ 2147483646 w 17342"/>
                  <a:gd name="T11" fmla="*/ 2147483646 h 1564"/>
                  <a:gd name="T12" fmla="*/ 2147483646 w 17342"/>
                  <a:gd name="T13" fmla="*/ 2147483646 h 1564"/>
                  <a:gd name="T14" fmla="*/ 2147483646 w 17342"/>
                  <a:gd name="T15" fmla="*/ 2147483646 h 1564"/>
                  <a:gd name="T16" fmla="*/ 2147483646 w 17342"/>
                  <a:gd name="T17" fmla="*/ 2147483646 h 1564"/>
                  <a:gd name="T18" fmla="*/ 2147483646 w 17342"/>
                  <a:gd name="T19" fmla="*/ 2147483646 h 1564"/>
                  <a:gd name="T20" fmla="*/ 2147483646 w 17342"/>
                  <a:gd name="T21" fmla="*/ 2147483646 h 1564"/>
                  <a:gd name="T22" fmla="*/ 2147483646 w 17342"/>
                  <a:gd name="T23" fmla="*/ 2147483646 h 1564"/>
                  <a:gd name="T24" fmla="*/ 2147483646 w 17342"/>
                  <a:gd name="T25" fmla="*/ 2147483646 h 1564"/>
                  <a:gd name="T26" fmla="*/ 2147483646 w 17342"/>
                  <a:gd name="T27" fmla="*/ 2147483646 h 1564"/>
                  <a:gd name="T28" fmla="*/ 2147483646 w 17342"/>
                  <a:gd name="T29" fmla="*/ 2147483646 h 1564"/>
                  <a:gd name="T30" fmla="*/ 2147483646 w 17342"/>
                  <a:gd name="T31" fmla="*/ 2147483646 h 1564"/>
                  <a:gd name="T32" fmla="*/ 2147483646 w 17342"/>
                  <a:gd name="T33" fmla="*/ 2147483646 h 1564"/>
                  <a:gd name="T34" fmla="*/ 2147483646 w 17342"/>
                  <a:gd name="T35" fmla="*/ 2147483646 h 1564"/>
                  <a:gd name="T36" fmla="*/ 2147483646 w 17342"/>
                  <a:gd name="T37" fmla="*/ 2147483646 h 1564"/>
                  <a:gd name="T38" fmla="*/ 2147483646 w 17342"/>
                  <a:gd name="T39" fmla="*/ 2147483646 h 1564"/>
                  <a:gd name="T40" fmla="*/ 2147483646 w 17342"/>
                  <a:gd name="T41" fmla="*/ 2147483646 h 1564"/>
                  <a:gd name="T42" fmla="*/ 2147483646 w 17342"/>
                  <a:gd name="T43" fmla="*/ 2147483646 h 1564"/>
                  <a:gd name="T44" fmla="*/ 2147483646 w 17342"/>
                  <a:gd name="T45" fmla="*/ 2147483646 h 1564"/>
                  <a:gd name="T46" fmla="*/ 2147483646 w 17342"/>
                  <a:gd name="T47" fmla="*/ 2147483646 h 1564"/>
                  <a:gd name="T48" fmla="*/ 2147483646 w 17342"/>
                  <a:gd name="T49" fmla="*/ 2147483646 h 1564"/>
                  <a:gd name="T50" fmla="*/ 2147483646 w 17342"/>
                  <a:gd name="T51" fmla="*/ 2147483646 h 1564"/>
                  <a:gd name="T52" fmla="*/ 2147483646 w 17342"/>
                  <a:gd name="T53" fmla="*/ 2147483646 h 1564"/>
                  <a:gd name="T54" fmla="*/ 2147483646 w 17342"/>
                  <a:gd name="T55" fmla="*/ 2147483646 h 1564"/>
                  <a:gd name="T56" fmla="*/ 2147483646 w 17342"/>
                  <a:gd name="T57" fmla="*/ 2147483646 h 1564"/>
                  <a:gd name="T58" fmla="*/ 2147483646 w 17342"/>
                  <a:gd name="T59" fmla="*/ 2147483646 h 1564"/>
                  <a:gd name="T60" fmla="*/ 2147483646 w 17342"/>
                  <a:gd name="T61" fmla="*/ 2147483646 h 1564"/>
                  <a:gd name="T62" fmla="*/ 2147483646 w 17342"/>
                  <a:gd name="T63" fmla="*/ 2147483646 h 1564"/>
                  <a:gd name="T64" fmla="*/ 2147483646 w 17342"/>
                  <a:gd name="T65" fmla="*/ 2147483646 h 1564"/>
                  <a:gd name="T66" fmla="*/ 2147483646 w 17342"/>
                  <a:gd name="T67" fmla="*/ 2147483646 h 1564"/>
                  <a:gd name="T68" fmla="*/ 2147483646 w 17342"/>
                  <a:gd name="T69" fmla="*/ 2147483646 h 1564"/>
                  <a:gd name="T70" fmla="*/ 2147483646 w 17342"/>
                  <a:gd name="T71" fmla="*/ 2147483646 h 1564"/>
                  <a:gd name="T72" fmla="*/ 2147483646 w 17342"/>
                  <a:gd name="T73" fmla="*/ 2147483646 h 1564"/>
                  <a:gd name="T74" fmla="*/ 2147483646 w 17342"/>
                  <a:gd name="T75" fmla="*/ 2147483646 h 1564"/>
                  <a:gd name="T76" fmla="*/ 2147483646 w 17342"/>
                  <a:gd name="T77" fmla="*/ 2147483646 h 1564"/>
                  <a:gd name="T78" fmla="*/ 2147483646 w 17342"/>
                  <a:gd name="T79" fmla="*/ 2147483646 h 1564"/>
                  <a:gd name="T80" fmla="*/ 2147483646 w 17342"/>
                  <a:gd name="T81" fmla="*/ 2147483646 h 1564"/>
                  <a:gd name="T82" fmla="*/ 2147483646 w 17342"/>
                  <a:gd name="T83" fmla="*/ 2147483646 h 1564"/>
                  <a:gd name="T84" fmla="*/ 2147483646 w 17342"/>
                  <a:gd name="T85" fmla="*/ 2147483646 h 1564"/>
                  <a:gd name="T86" fmla="*/ 2147483646 w 17342"/>
                  <a:gd name="T87" fmla="*/ 2147483646 h 1564"/>
                  <a:gd name="T88" fmla="*/ 2147483646 w 17342"/>
                  <a:gd name="T89" fmla="*/ 2147483646 h 1564"/>
                  <a:gd name="T90" fmla="*/ 2147483646 w 17342"/>
                  <a:gd name="T91" fmla="*/ 2147483646 h 1564"/>
                  <a:gd name="T92" fmla="*/ 2147483646 w 17342"/>
                  <a:gd name="T93" fmla="*/ 2147483646 h 1564"/>
                  <a:gd name="T94" fmla="*/ 2147483646 w 17342"/>
                  <a:gd name="T95" fmla="*/ 2147483646 h 1564"/>
                  <a:gd name="T96" fmla="*/ 2147483646 w 17342"/>
                  <a:gd name="T97" fmla="*/ 2147483646 h 1564"/>
                  <a:gd name="T98" fmla="*/ 2147483646 w 17342"/>
                  <a:gd name="T99" fmla="*/ 2147483646 h 1564"/>
                  <a:gd name="T100" fmla="*/ 2147483646 w 17342"/>
                  <a:gd name="T101" fmla="*/ 2147483646 h 1564"/>
                  <a:gd name="T102" fmla="*/ 2147483646 w 17342"/>
                  <a:gd name="T103" fmla="*/ 2147483646 h 1564"/>
                  <a:gd name="T104" fmla="*/ 2147483646 w 17342"/>
                  <a:gd name="T105" fmla="*/ 2147483646 h 1564"/>
                  <a:gd name="T106" fmla="*/ 2147483646 w 17342"/>
                  <a:gd name="T107" fmla="*/ 2147483646 h 1564"/>
                  <a:gd name="T108" fmla="*/ 2147483646 w 17342"/>
                  <a:gd name="T109" fmla="*/ 2147483646 h 1564"/>
                  <a:gd name="T110" fmla="*/ 2147483646 w 17342"/>
                  <a:gd name="T111" fmla="*/ 2147483646 h 1564"/>
                  <a:gd name="T112" fmla="*/ 2147483646 w 17342"/>
                  <a:gd name="T113" fmla="*/ 2147483646 h 1564"/>
                  <a:gd name="T114" fmla="*/ 2147483646 w 17342"/>
                  <a:gd name="T115" fmla="*/ 2147483646 h 1564"/>
                  <a:gd name="T116" fmla="*/ 2147483646 w 17342"/>
                  <a:gd name="T117" fmla="*/ 2147483646 h 1564"/>
                  <a:gd name="T118" fmla="*/ 2147483646 w 17342"/>
                  <a:gd name="T119" fmla="*/ 2147483646 h 1564"/>
                  <a:gd name="T120" fmla="*/ 2147483646 w 17342"/>
                  <a:gd name="T121" fmla="*/ 2147483646 h 156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7342"/>
                  <a:gd name="T184" fmla="*/ 0 h 1564"/>
                  <a:gd name="T185" fmla="*/ 17342 w 17342"/>
                  <a:gd name="T186" fmla="*/ 1564 h 1564"/>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7342" h="1564" extrusionOk="0">
                    <a:moveTo>
                      <a:pt x="489" y="1"/>
                    </a:moveTo>
                    <a:lnTo>
                      <a:pt x="392" y="25"/>
                    </a:lnTo>
                    <a:lnTo>
                      <a:pt x="294" y="50"/>
                    </a:lnTo>
                    <a:lnTo>
                      <a:pt x="221" y="99"/>
                    </a:lnTo>
                    <a:lnTo>
                      <a:pt x="147" y="147"/>
                    </a:lnTo>
                    <a:lnTo>
                      <a:pt x="74" y="221"/>
                    </a:lnTo>
                    <a:lnTo>
                      <a:pt x="25" y="318"/>
                    </a:lnTo>
                    <a:lnTo>
                      <a:pt x="1" y="392"/>
                    </a:lnTo>
                    <a:lnTo>
                      <a:pt x="1" y="489"/>
                    </a:lnTo>
                    <a:lnTo>
                      <a:pt x="1" y="611"/>
                    </a:lnTo>
                    <a:lnTo>
                      <a:pt x="25" y="685"/>
                    </a:lnTo>
                    <a:lnTo>
                      <a:pt x="74" y="782"/>
                    </a:lnTo>
                    <a:lnTo>
                      <a:pt x="147" y="856"/>
                    </a:lnTo>
                    <a:lnTo>
                      <a:pt x="221" y="904"/>
                    </a:lnTo>
                    <a:lnTo>
                      <a:pt x="294" y="953"/>
                    </a:lnTo>
                    <a:lnTo>
                      <a:pt x="392" y="978"/>
                    </a:lnTo>
                    <a:lnTo>
                      <a:pt x="489" y="978"/>
                    </a:lnTo>
                    <a:lnTo>
                      <a:pt x="734" y="1002"/>
                    </a:lnTo>
                    <a:lnTo>
                      <a:pt x="929" y="1051"/>
                    </a:lnTo>
                    <a:lnTo>
                      <a:pt x="1100" y="1124"/>
                    </a:lnTo>
                    <a:lnTo>
                      <a:pt x="1271" y="1222"/>
                    </a:lnTo>
                    <a:lnTo>
                      <a:pt x="1491" y="1344"/>
                    </a:lnTo>
                    <a:lnTo>
                      <a:pt x="1759" y="1466"/>
                    </a:lnTo>
                    <a:lnTo>
                      <a:pt x="1930" y="1515"/>
                    </a:lnTo>
                    <a:lnTo>
                      <a:pt x="2101" y="1539"/>
                    </a:lnTo>
                    <a:lnTo>
                      <a:pt x="2297" y="1564"/>
                    </a:lnTo>
                    <a:lnTo>
                      <a:pt x="2761" y="1564"/>
                    </a:lnTo>
                    <a:lnTo>
                      <a:pt x="2956" y="1539"/>
                    </a:lnTo>
                    <a:lnTo>
                      <a:pt x="3127" y="1515"/>
                    </a:lnTo>
                    <a:lnTo>
                      <a:pt x="3298" y="1466"/>
                    </a:lnTo>
                    <a:lnTo>
                      <a:pt x="3567" y="1344"/>
                    </a:lnTo>
                    <a:lnTo>
                      <a:pt x="3787" y="1222"/>
                    </a:lnTo>
                    <a:lnTo>
                      <a:pt x="3957" y="1124"/>
                    </a:lnTo>
                    <a:lnTo>
                      <a:pt x="4128" y="1051"/>
                    </a:lnTo>
                    <a:lnTo>
                      <a:pt x="4324" y="1002"/>
                    </a:lnTo>
                    <a:lnTo>
                      <a:pt x="4568" y="978"/>
                    </a:lnTo>
                    <a:lnTo>
                      <a:pt x="4837" y="1002"/>
                    </a:lnTo>
                    <a:lnTo>
                      <a:pt x="5032" y="1051"/>
                    </a:lnTo>
                    <a:lnTo>
                      <a:pt x="5179" y="1124"/>
                    </a:lnTo>
                    <a:lnTo>
                      <a:pt x="5350" y="1222"/>
                    </a:lnTo>
                    <a:lnTo>
                      <a:pt x="5594" y="1344"/>
                    </a:lnTo>
                    <a:lnTo>
                      <a:pt x="5862" y="1466"/>
                    </a:lnTo>
                    <a:lnTo>
                      <a:pt x="6009" y="1515"/>
                    </a:lnTo>
                    <a:lnTo>
                      <a:pt x="6204" y="1539"/>
                    </a:lnTo>
                    <a:lnTo>
                      <a:pt x="6400" y="1564"/>
                    </a:lnTo>
                    <a:lnTo>
                      <a:pt x="6839" y="1564"/>
                    </a:lnTo>
                    <a:lnTo>
                      <a:pt x="7059" y="1539"/>
                    </a:lnTo>
                    <a:lnTo>
                      <a:pt x="7230" y="1515"/>
                    </a:lnTo>
                    <a:lnTo>
                      <a:pt x="7401" y="1466"/>
                    </a:lnTo>
                    <a:lnTo>
                      <a:pt x="7670" y="1344"/>
                    </a:lnTo>
                    <a:lnTo>
                      <a:pt x="7890" y="1222"/>
                    </a:lnTo>
                    <a:lnTo>
                      <a:pt x="8061" y="1124"/>
                    </a:lnTo>
                    <a:lnTo>
                      <a:pt x="8231" y="1051"/>
                    </a:lnTo>
                    <a:lnTo>
                      <a:pt x="8427" y="1002"/>
                    </a:lnTo>
                    <a:lnTo>
                      <a:pt x="8671" y="978"/>
                    </a:lnTo>
                    <a:lnTo>
                      <a:pt x="8915" y="1002"/>
                    </a:lnTo>
                    <a:lnTo>
                      <a:pt x="9111" y="1051"/>
                    </a:lnTo>
                    <a:lnTo>
                      <a:pt x="9282" y="1124"/>
                    </a:lnTo>
                    <a:lnTo>
                      <a:pt x="9453" y="1222"/>
                    </a:lnTo>
                    <a:lnTo>
                      <a:pt x="9672" y="1344"/>
                    </a:lnTo>
                    <a:lnTo>
                      <a:pt x="9941" y="1466"/>
                    </a:lnTo>
                    <a:lnTo>
                      <a:pt x="10112" y="1515"/>
                    </a:lnTo>
                    <a:lnTo>
                      <a:pt x="10283" y="1539"/>
                    </a:lnTo>
                    <a:lnTo>
                      <a:pt x="10478" y="1564"/>
                    </a:lnTo>
                    <a:lnTo>
                      <a:pt x="10942" y="1564"/>
                    </a:lnTo>
                    <a:lnTo>
                      <a:pt x="11138" y="1539"/>
                    </a:lnTo>
                    <a:lnTo>
                      <a:pt x="11333" y="1515"/>
                    </a:lnTo>
                    <a:lnTo>
                      <a:pt x="11480" y="1466"/>
                    </a:lnTo>
                    <a:lnTo>
                      <a:pt x="11748" y="1344"/>
                    </a:lnTo>
                    <a:lnTo>
                      <a:pt x="11993" y="1222"/>
                    </a:lnTo>
                    <a:lnTo>
                      <a:pt x="12139" y="1124"/>
                    </a:lnTo>
                    <a:lnTo>
                      <a:pt x="12310" y="1051"/>
                    </a:lnTo>
                    <a:lnTo>
                      <a:pt x="12506" y="1002"/>
                    </a:lnTo>
                    <a:lnTo>
                      <a:pt x="12774" y="978"/>
                    </a:lnTo>
                    <a:lnTo>
                      <a:pt x="13018" y="1002"/>
                    </a:lnTo>
                    <a:lnTo>
                      <a:pt x="13214" y="1051"/>
                    </a:lnTo>
                    <a:lnTo>
                      <a:pt x="13385" y="1124"/>
                    </a:lnTo>
                    <a:lnTo>
                      <a:pt x="13556" y="1222"/>
                    </a:lnTo>
                    <a:lnTo>
                      <a:pt x="13776" y="1344"/>
                    </a:lnTo>
                    <a:lnTo>
                      <a:pt x="14044" y="1466"/>
                    </a:lnTo>
                    <a:lnTo>
                      <a:pt x="14215" y="1515"/>
                    </a:lnTo>
                    <a:lnTo>
                      <a:pt x="14386" y="1539"/>
                    </a:lnTo>
                    <a:lnTo>
                      <a:pt x="14581" y="1564"/>
                    </a:lnTo>
                    <a:lnTo>
                      <a:pt x="15046" y="1564"/>
                    </a:lnTo>
                    <a:lnTo>
                      <a:pt x="15241" y="1539"/>
                    </a:lnTo>
                    <a:lnTo>
                      <a:pt x="15412" y="1515"/>
                    </a:lnTo>
                    <a:lnTo>
                      <a:pt x="15583" y="1466"/>
                    </a:lnTo>
                    <a:lnTo>
                      <a:pt x="15851" y="1344"/>
                    </a:lnTo>
                    <a:lnTo>
                      <a:pt x="16071" y="1222"/>
                    </a:lnTo>
                    <a:lnTo>
                      <a:pt x="16242" y="1124"/>
                    </a:lnTo>
                    <a:lnTo>
                      <a:pt x="16413" y="1051"/>
                    </a:lnTo>
                    <a:lnTo>
                      <a:pt x="16609" y="1002"/>
                    </a:lnTo>
                    <a:lnTo>
                      <a:pt x="16853" y="978"/>
                    </a:lnTo>
                    <a:lnTo>
                      <a:pt x="16951" y="978"/>
                    </a:lnTo>
                    <a:lnTo>
                      <a:pt x="17048" y="953"/>
                    </a:lnTo>
                    <a:lnTo>
                      <a:pt x="17121" y="904"/>
                    </a:lnTo>
                    <a:lnTo>
                      <a:pt x="17195" y="856"/>
                    </a:lnTo>
                    <a:lnTo>
                      <a:pt x="17268" y="782"/>
                    </a:lnTo>
                    <a:lnTo>
                      <a:pt x="17317" y="685"/>
                    </a:lnTo>
                    <a:lnTo>
                      <a:pt x="17341" y="611"/>
                    </a:lnTo>
                    <a:lnTo>
                      <a:pt x="17341" y="489"/>
                    </a:lnTo>
                    <a:lnTo>
                      <a:pt x="17341" y="392"/>
                    </a:lnTo>
                    <a:lnTo>
                      <a:pt x="17317" y="318"/>
                    </a:lnTo>
                    <a:lnTo>
                      <a:pt x="17268" y="221"/>
                    </a:lnTo>
                    <a:lnTo>
                      <a:pt x="17195" y="147"/>
                    </a:lnTo>
                    <a:lnTo>
                      <a:pt x="17121" y="99"/>
                    </a:lnTo>
                    <a:lnTo>
                      <a:pt x="17048" y="50"/>
                    </a:lnTo>
                    <a:lnTo>
                      <a:pt x="16951" y="25"/>
                    </a:lnTo>
                    <a:lnTo>
                      <a:pt x="16853" y="1"/>
                    </a:lnTo>
                    <a:lnTo>
                      <a:pt x="16633" y="25"/>
                    </a:lnTo>
                    <a:lnTo>
                      <a:pt x="16438" y="50"/>
                    </a:lnTo>
                    <a:lnTo>
                      <a:pt x="16242" y="74"/>
                    </a:lnTo>
                    <a:lnTo>
                      <a:pt x="16096" y="123"/>
                    </a:lnTo>
                    <a:lnTo>
                      <a:pt x="15827" y="245"/>
                    </a:lnTo>
                    <a:lnTo>
                      <a:pt x="15583" y="367"/>
                    </a:lnTo>
                    <a:lnTo>
                      <a:pt x="15436" y="465"/>
                    </a:lnTo>
                    <a:lnTo>
                      <a:pt x="15265" y="538"/>
                    </a:lnTo>
                    <a:lnTo>
                      <a:pt x="15070" y="587"/>
                    </a:lnTo>
                    <a:lnTo>
                      <a:pt x="14557" y="587"/>
                    </a:lnTo>
                    <a:lnTo>
                      <a:pt x="14362" y="538"/>
                    </a:lnTo>
                    <a:lnTo>
                      <a:pt x="14191" y="465"/>
                    </a:lnTo>
                    <a:lnTo>
                      <a:pt x="14020" y="367"/>
                    </a:lnTo>
                    <a:lnTo>
                      <a:pt x="13800" y="245"/>
                    </a:lnTo>
                    <a:lnTo>
                      <a:pt x="13531" y="123"/>
                    </a:lnTo>
                    <a:lnTo>
                      <a:pt x="13385" y="74"/>
                    </a:lnTo>
                    <a:lnTo>
                      <a:pt x="13189" y="50"/>
                    </a:lnTo>
                    <a:lnTo>
                      <a:pt x="12994" y="25"/>
                    </a:lnTo>
                    <a:lnTo>
                      <a:pt x="12774" y="1"/>
                    </a:lnTo>
                    <a:lnTo>
                      <a:pt x="12530" y="25"/>
                    </a:lnTo>
                    <a:lnTo>
                      <a:pt x="12335" y="50"/>
                    </a:lnTo>
                    <a:lnTo>
                      <a:pt x="12164" y="74"/>
                    </a:lnTo>
                    <a:lnTo>
                      <a:pt x="11993" y="123"/>
                    </a:lnTo>
                    <a:lnTo>
                      <a:pt x="11724" y="245"/>
                    </a:lnTo>
                    <a:lnTo>
                      <a:pt x="11504" y="367"/>
                    </a:lnTo>
                    <a:lnTo>
                      <a:pt x="11333" y="465"/>
                    </a:lnTo>
                    <a:lnTo>
                      <a:pt x="11162" y="538"/>
                    </a:lnTo>
                    <a:lnTo>
                      <a:pt x="10967" y="587"/>
                    </a:lnTo>
                    <a:lnTo>
                      <a:pt x="10478" y="587"/>
                    </a:lnTo>
                    <a:lnTo>
                      <a:pt x="10283" y="538"/>
                    </a:lnTo>
                    <a:lnTo>
                      <a:pt x="10112" y="465"/>
                    </a:lnTo>
                    <a:lnTo>
                      <a:pt x="9941" y="367"/>
                    </a:lnTo>
                    <a:lnTo>
                      <a:pt x="9721" y="245"/>
                    </a:lnTo>
                    <a:lnTo>
                      <a:pt x="9428" y="123"/>
                    </a:lnTo>
                    <a:lnTo>
                      <a:pt x="9282" y="74"/>
                    </a:lnTo>
                    <a:lnTo>
                      <a:pt x="9111" y="50"/>
                    </a:lnTo>
                    <a:lnTo>
                      <a:pt x="8891" y="25"/>
                    </a:lnTo>
                    <a:lnTo>
                      <a:pt x="8671" y="1"/>
                    </a:lnTo>
                    <a:lnTo>
                      <a:pt x="8451" y="25"/>
                    </a:lnTo>
                    <a:lnTo>
                      <a:pt x="8231" y="50"/>
                    </a:lnTo>
                    <a:lnTo>
                      <a:pt x="8061" y="74"/>
                    </a:lnTo>
                    <a:lnTo>
                      <a:pt x="7890" y="123"/>
                    </a:lnTo>
                    <a:lnTo>
                      <a:pt x="7621" y="245"/>
                    </a:lnTo>
                    <a:lnTo>
                      <a:pt x="7401" y="367"/>
                    </a:lnTo>
                    <a:lnTo>
                      <a:pt x="7230" y="465"/>
                    </a:lnTo>
                    <a:lnTo>
                      <a:pt x="7059" y="538"/>
                    </a:lnTo>
                    <a:lnTo>
                      <a:pt x="6864" y="587"/>
                    </a:lnTo>
                    <a:lnTo>
                      <a:pt x="6375" y="587"/>
                    </a:lnTo>
                    <a:lnTo>
                      <a:pt x="6180" y="538"/>
                    </a:lnTo>
                    <a:lnTo>
                      <a:pt x="6009" y="465"/>
                    </a:lnTo>
                    <a:lnTo>
                      <a:pt x="5838" y="367"/>
                    </a:lnTo>
                    <a:lnTo>
                      <a:pt x="5618" y="245"/>
                    </a:lnTo>
                    <a:lnTo>
                      <a:pt x="5350" y="123"/>
                    </a:lnTo>
                    <a:lnTo>
                      <a:pt x="5179" y="74"/>
                    </a:lnTo>
                    <a:lnTo>
                      <a:pt x="5008" y="50"/>
                    </a:lnTo>
                    <a:lnTo>
                      <a:pt x="4812" y="25"/>
                    </a:lnTo>
                    <a:lnTo>
                      <a:pt x="4568" y="1"/>
                    </a:lnTo>
                    <a:lnTo>
                      <a:pt x="4348" y="25"/>
                    </a:lnTo>
                    <a:lnTo>
                      <a:pt x="4153" y="50"/>
                    </a:lnTo>
                    <a:lnTo>
                      <a:pt x="3957" y="74"/>
                    </a:lnTo>
                    <a:lnTo>
                      <a:pt x="3811" y="123"/>
                    </a:lnTo>
                    <a:lnTo>
                      <a:pt x="3542" y="245"/>
                    </a:lnTo>
                    <a:lnTo>
                      <a:pt x="3298" y="367"/>
                    </a:lnTo>
                    <a:lnTo>
                      <a:pt x="3152" y="465"/>
                    </a:lnTo>
                    <a:lnTo>
                      <a:pt x="2981" y="538"/>
                    </a:lnTo>
                    <a:lnTo>
                      <a:pt x="2785" y="587"/>
                    </a:lnTo>
                    <a:lnTo>
                      <a:pt x="2272" y="587"/>
                    </a:lnTo>
                    <a:lnTo>
                      <a:pt x="2077" y="538"/>
                    </a:lnTo>
                    <a:lnTo>
                      <a:pt x="1906" y="465"/>
                    </a:lnTo>
                    <a:lnTo>
                      <a:pt x="1759" y="367"/>
                    </a:lnTo>
                    <a:lnTo>
                      <a:pt x="1515" y="245"/>
                    </a:lnTo>
                    <a:lnTo>
                      <a:pt x="1247" y="123"/>
                    </a:lnTo>
                    <a:lnTo>
                      <a:pt x="1100" y="74"/>
                    </a:lnTo>
                    <a:lnTo>
                      <a:pt x="905" y="50"/>
                    </a:lnTo>
                    <a:lnTo>
                      <a:pt x="709" y="25"/>
                    </a:lnTo>
                    <a:lnTo>
                      <a:pt x="489" y="1"/>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41" name="Shape 562">
                <a:extLst>
                  <a:ext uri="{FF2B5EF4-FFF2-40B4-BE49-F238E27FC236}">
                    <a16:creationId xmlns:a16="http://schemas.microsoft.com/office/drawing/2014/main" id="{00D2F220-FE1E-4B5B-80F9-1BCDE9BAF21B}"/>
                  </a:ext>
                </a:extLst>
              </p:cNvPr>
              <p:cNvSpPr>
                <a:spLocks noChangeArrowheads="1"/>
              </p:cNvSpPr>
              <p:nvPr/>
            </p:nvSpPr>
            <p:spPr bwMode="auto">
              <a:xfrm>
                <a:off x="6642122" y="4312500"/>
                <a:ext cx="349875" cy="377350"/>
              </a:xfrm>
              <a:custGeom>
                <a:avLst/>
                <a:gdLst>
                  <a:gd name="T0" fmla="*/ 2147483646 w 13995"/>
                  <a:gd name="T1" fmla="*/ 2147483646 h 15094"/>
                  <a:gd name="T2" fmla="*/ 2147483646 w 13995"/>
                  <a:gd name="T3" fmla="*/ 2147483646 h 15094"/>
                  <a:gd name="T4" fmla="*/ 2147483646 w 13995"/>
                  <a:gd name="T5" fmla="*/ 2147483646 h 15094"/>
                  <a:gd name="T6" fmla="*/ 2147483646 w 13995"/>
                  <a:gd name="T7" fmla="*/ 2147483646 h 15094"/>
                  <a:gd name="T8" fmla="*/ 2147483646 w 13995"/>
                  <a:gd name="T9" fmla="*/ 2147483646 h 15094"/>
                  <a:gd name="T10" fmla="*/ 2147483646 w 13995"/>
                  <a:gd name="T11" fmla="*/ 2147483646 h 15094"/>
                  <a:gd name="T12" fmla="*/ 2147483646 w 13995"/>
                  <a:gd name="T13" fmla="*/ 2147483646 h 15094"/>
                  <a:gd name="T14" fmla="*/ 2147483646 w 13995"/>
                  <a:gd name="T15" fmla="*/ 2147483646 h 15094"/>
                  <a:gd name="T16" fmla="*/ 2147483646 w 13995"/>
                  <a:gd name="T17" fmla="*/ 2147483646 h 15094"/>
                  <a:gd name="T18" fmla="*/ 2147483646 w 13995"/>
                  <a:gd name="T19" fmla="*/ 2147483646 h 15094"/>
                  <a:gd name="T20" fmla="*/ 2147483646 w 13995"/>
                  <a:gd name="T21" fmla="*/ 2147483646 h 15094"/>
                  <a:gd name="T22" fmla="*/ 2147483646 w 13995"/>
                  <a:gd name="T23" fmla="*/ 2147483646 h 15094"/>
                  <a:gd name="T24" fmla="*/ 2147483646 w 13995"/>
                  <a:gd name="T25" fmla="*/ 2147483646 h 15094"/>
                  <a:gd name="T26" fmla="*/ 2147483646 w 13995"/>
                  <a:gd name="T27" fmla="*/ 2147483646 h 15094"/>
                  <a:gd name="T28" fmla="*/ 2147483646 w 13995"/>
                  <a:gd name="T29" fmla="*/ 2147483646 h 15094"/>
                  <a:gd name="T30" fmla="*/ 2147483646 w 13995"/>
                  <a:gd name="T31" fmla="*/ 2147483646 h 15094"/>
                  <a:gd name="T32" fmla="*/ 2147483646 w 13995"/>
                  <a:gd name="T33" fmla="*/ 2147483646 h 15094"/>
                  <a:gd name="T34" fmla="*/ 2147483646 w 13995"/>
                  <a:gd name="T35" fmla="*/ 2147483646 h 15094"/>
                  <a:gd name="T36" fmla="*/ 2147483646 w 13995"/>
                  <a:gd name="T37" fmla="*/ 2147483646 h 15094"/>
                  <a:gd name="T38" fmla="*/ 2147483646 w 13995"/>
                  <a:gd name="T39" fmla="*/ 2147483646 h 15094"/>
                  <a:gd name="T40" fmla="*/ 2147483646 w 13995"/>
                  <a:gd name="T41" fmla="*/ 2147483646 h 15094"/>
                  <a:gd name="T42" fmla="*/ 2147483646 w 13995"/>
                  <a:gd name="T43" fmla="*/ 2147483646 h 15094"/>
                  <a:gd name="T44" fmla="*/ 2147483646 w 13995"/>
                  <a:gd name="T45" fmla="*/ 2147483646 h 15094"/>
                  <a:gd name="T46" fmla="*/ 2147483646 w 13995"/>
                  <a:gd name="T47" fmla="*/ 2147483646 h 15094"/>
                  <a:gd name="T48" fmla="*/ 2147483646 w 13995"/>
                  <a:gd name="T49" fmla="*/ 2147483646 h 15094"/>
                  <a:gd name="T50" fmla="*/ 2147483646 w 13995"/>
                  <a:gd name="T51" fmla="*/ 2147483646 h 15094"/>
                  <a:gd name="T52" fmla="*/ 0 w 13995"/>
                  <a:gd name="T53" fmla="*/ 2147483646 h 15094"/>
                  <a:gd name="T54" fmla="*/ 2147483646 w 13995"/>
                  <a:gd name="T55" fmla="*/ 2147483646 h 15094"/>
                  <a:gd name="T56" fmla="*/ 2147483646 w 13995"/>
                  <a:gd name="T57" fmla="*/ 2147483646 h 15094"/>
                  <a:gd name="T58" fmla="*/ 2147483646 w 13995"/>
                  <a:gd name="T59" fmla="*/ 2147483646 h 15094"/>
                  <a:gd name="T60" fmla="*/ 2147483646 w 13995"/>
                  <a:gd name="T61" fmla="*/ 2147483646 h 15094"/>
                  <a:gd name="T62" fmla="*/ 2147483646 w 13995"/>
                  <a:gd name="T63" fmla="*/ 2147483646 h 15094"/>
                  <a:gd name="T64" fmla="*/ 2147483646 w 13995"/>
                  <a:gd name="T65" fmla="*/ 2147483646 h 15094"/>
                  <a:gd name="T66" fmla="*/ 2147483646 w 13995"/>
                  <a:gd name="T67" fmla="*/ 2147483646 h 15094"/>
                  <a:gd name="T68" fmla="*/ 2147483646 w 13995"/>
                  <a:gd name="T69" fmla="*/ 2147483646 h 15094"/>
                  <a:gd name="T70" fmla="*/ 2147483646 w 13995"/>
                  <a:gd name="T71" fmla="*/ 2147483646 h 15094"/>
                  <a:gd name="T72" fmla="*/ 2147483646 w 13995"/>
                  <a:gd name="T73" fmla="*/ 2147483646 h 15094"/>
                  <a:gd name="T74" fmla="*/ 2147483646 w 13995"/>
                  <a:gd name="T75" fmla="*/ 2147483646 h 15094"/>
                  <a:gd name="T76" fmla="*/ 2147483646 w 13995"/>
                  <a:gd name="T77" fmla="*/ 2147483646 h 15094"/>
                  <a:gd name="T78" fmla="*/ 2147483646 w 13995"/>
                  <a:gd name="T79" fmla="*/ 2147483646 h 15094"/>
                  <a:gd name="T80" fmla="*/ 2147483646 w 13995"/>
                  <a:gd name="T81" fmla="*/ 2147483646 h 15094"/>
                  <a:gd name="T82" fmla="*/ 2147483646 w 13995"/>
                  <a:gd name="T83" fmla="*/ 2147483646 h 15094"/>
                  <a:gd name="T84" fmla="*/ 2147483646 w 13995"/>
                  <a:gd name="T85" fmla="*/ 2147483646 h 15094"/>
                  <a:gd name="T86" fmla="*/ 2147483646 w 13995"/>
                  <a:gd name="T87" fmla="*/ 2147483646 h 15094"/>
                  <a:gd name="T88" fmla="*/ 2147483646 w 13995"/>
                  <a:gd name="T89" fmla="*/ 2147483646 h 15094"/>
                  <a:gd name="T90" fmla="*/ 2147483646 w 13995"/>
                  <a:gd name="T91" fmla="*/ 2147483646 h 15094"/>
                  <a:gd name="T92" fmla="*/ 2147483646 w 13995"/>
                  <a:gd name="T93" fmla="*/ 2147483646 h 15094"/>
                  <a:gd name="T94" fmla="*/ 2147483646 w 13995"/>
                  <a:gd name="T95" fmla="*/ 2147483646 h 15094"/>
                  <a:gd name="T96" fmla="*/ 2147483646 w 13995"/>
                  <a:gd name="T97" fmla="*/ 2147483646 h 15094"/>
                  <a:gd name="T98" fmla="*/ 2147483646 w 13995"/>
                  <a:gd name="T99" fmla="*/ 0 h 15094"/>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995"/>
                  <a:gd name="T151" fmla="*/ 0 h 15094"/>
                  <a:gd name="T152" fmla="*/ 13995 w 13995"/>
                  <a:gd name="T153" fmla="*/ 15094 h 15094"/>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995" h="15094" extrusionOk="0">
                    <a:moveTo>
                      <a:pt x="5691" y="5740"/>
                    </a:moveTo>
                    <a:lnTo>
                      <a:pt x="5764" y="5764"/>
                    </a:lnTo>
                    <a:lnTo>
                      <a:pt x="5813" y="5837"/>
                    </a:lnTo>
                    <a:lnTo>
                      <a:pt x="5862" y="5886"/>
                    </a:lnTo>
                    <a:lnTo>
                      <a:pt x="5935" y="6082"/>
                    </a:lnTo>
                    <a:lnTo>
                      <a:pt x="5959" y="6301"/>
                    </a:lnTo>
                    <a:lnTo>
                      <a:pt x="5935" y="6521"/>
                    </a:lnTo>
                    <a:lnTo>
                      <a:pt x="5862" y="6692"/>
                    </a:lnTo>
                    <a:lnTo>
                      <a:pt x="5813" y="6765"/>
                    </a:lnTo>
                    <a:lnTo>
                      <a:pt x="5764" y="6814"/>
                    </a:lnTo>
                    <a:lnTo>
                      <a:pt x="5691" y="6839"/>
                    </a:lnTo>
                    <a:lnTo>
                      <a:pt x="5642" y="6863"/>
                    </a:lnTo>
                    <a:lnTo>
                      <a:pt x="5569" y="6839"/>
                    </a:lnTo>
                    <a:lnTo>
                      <a:pt x="5520" y="6814"/>
                    </a:lnTo>
                    <a:lnTo>
                      <a:pt x="5446" y="6765"/>
                    </a:lnTo>
                    <a:lnTo>
                      <a:pt x="5398" y="6692"/>
                    </a:lnTo>
                    <a:lnTo>
                      <a:pt x="5349" y="6521"/>
                    </a:lnTo>
                    <a:lnTo>
                      <a:pt x="5324" y="6301"/>
                    </a:lnTo>
                    <a:lnTo>
                      <a:pt x="5349" y="6082"/>
                    </a:lnTo>
                    <a:lnTo>
                      <a:pt x="5398" y="5886"/>
                    </a:lnTo>
                    <a:lnTo>
                      <a:pt x="5446" y="5837"/>
                    </a:lnTo>
                    <a:lnTo>
                      <a:pt x="5520" y="5764"/>
                    </a:lnTo>
                    <a:lnTo>
                      <a:pt x="5569" y="5740"/>
                    </a:lnTo>
                    <a:lnTo>
                      <a:pt x="5691" y="5740"/>
                    </a:lnTo>
                    <a:close/>
                    <a:moveTo>
                      <a:pt x="8402" y="5740"/>
                    </a:moveTo>
                    <a:lnTo>
                      <a:pt x="8475" y="5764"/>
                    </a:lnTo>
                    <a:lnTo>
                      <a:pt x="8524" y="5837"/>
                    </a:lnTo>
                    <a:lnTo>
                      <a:pt x="8573" y="5886"/>
                    </a:lnTo>
                    <a:lnTo>
                      <a:pt x="8621" y="6082"/>
                    </a:lnTo>
                    <a:lnTo>
                      <a:pt x="8646" y="6301"/>
                    </a:lnTo>
                    <a:lnTo>
                      <a:pt x="8621" y="6521"/>
                    </a:lnTo>
                    <a:lnTo>
                      <a:pt x="8573" y="6692"/>
                    </a:lnTo>
                    <a:lnTo>
                      <a:pt x="8524" y="6765"/>
                    </a:lnTo>
                    <a:lnTo>
                      <a:pt x="8475" y="6814"/>
                    </a:lnTo>
                    <a:lnTo>
                      <a:pt x="8402" y="6839"/>
                    </a:lnTo>
                    <a:lnTo>
                      <a:pt x="8328" y="6863"/>
                    </a:lnTo>
                    <a:lnTo>
                      <a:pt x="8280" y="6839"/>
                    </a:lnTo>
                    <a:lnTo>
                      <a:pt x="8206" y="6814"/>
                    </a:lnTo>
                    <a:lnTo>
                      <a:pt x="8157" y="6765"/>
                    </a:lnTo>
                    <a:lnTo>
                      <a:pt x="8109" y="6692"/>
                    </a:lnTo>
                    <a:lnTo>
                      <a:pt x="8035" y="6521"/>
                    </a:lnTo>
                    <a:lnTo>
                      <a:pt x="8011" y="6301"/>
                    </a:lnTo>
                    <a:lnTo>
                      <a:pt x="8035" y="6082"/>
                    </a:lnTo>
                    <a:lnTo>
                      <a:pt x="8109" y="5886"/>
                    </a:lnTo>
                    <a:lnTo>
                      <a:pt x="8157" y="5837"/>
                    </a:lnTo>
                    <a:lnTo>
                      <a:pt x="8206" y="5764"/>
                    </a:lnTo>
                    <a:lnTo>
                      <a:pt x="8280" y="5740"/>
                    </a:lnTo>
                    <a:lnTo>
                      <a:pt x="8402" y="5740"/>
                    </a:lnTo>
                    <a:close/>
                    <a:moveTo>
                      <a:pt x="9867" y="2931"/>
                    </a:moveTo>
                    <a:lnTo>
                      <a:pt x="9867" y="4421"/>
                    </a:lnTo>
                    <a:lnTo>
                      <a:pt x="11552" y="4421"/>
                    </a:lnTo>
                    <a:lnTo>
                      <a:pt x="11552" y="6033"/>
                    </a:lnTo>
                    <a:lnTo>
                      <a:pt x="7229" y="4225"/>
                    </a:lnTo>
                    <a:lnTo>
                      <a:pt x="7229" y="9867"/>
                    </a:lnTo>
                    <a:lnTo>
                      <a:pt x="7205" y="9965"/>
                    </a:lnTo>
                    <a:lnTo>
                      <a:pt x="7156" y="10063"/>
                    </a:lnTo>
                    <a:lnTo>
                      <a:pt x="7083" y="10111"/>
                    </a:lnTo>
                    <a:lnTo>
                      <a:pt x="6887" y="10111"/>
                    </a:lnTo>
                    <a:lnTo>
                      <a:pt x="6814" y="10063"/>
                    </a:lnTo>
                    <a:lnTo>
                      <a:pt x="6765" y="9965"/>
                    </a:lnTo>
                    <a:lnTo>
                      <a:pt x="6741" y="9867"/>
                    </a:lnTo>
                    <a:lnTo>
                      <a:pt x="6741" y="4225"/>
                    </a:lnTo>
                    <a:lnTo>
                      <a:pt x="2418" y="6033"/>
                    </a:lnTo>
                    <a:lnTo>
                      <a:pt x="2418" y="4421"/>
                    </a:lnTo>
                    <a:lnTo>
                      <a:pt x="4103" y="4421"/>
                    </a:lnTo>
                    <a:lnTo>
                      <a:pt x="4103" y="2931"/>
                    </a:lnTo>
                    <a:lnTo>
                      <a:pt x="9867" y="2931"/>
                    </a:lnTo>
                    <a:close/>
                    <a:moveTo>
                      <a:pt x="5520" y="0"/>
                    </a:moveTo>
                    <a:lnTo>
                      <a:pt x="5520" y="2027"/>
                    </a:lnTo>
                    <a:lnTo>
                      <a:pt x="3151" y="2027"/>
                    </a:lnTo>
                    <a:lnTo>
                      <a:pt x="3151" y="3542"/>
                    </a:lnTo>
                    <a:lnTo>
                      <a:pt x="1466" y="3542"/>
                    </a:lnTo>
                    <a:lnTo>
                      <a:pt x="1466" y="6423"/>
                    </a:lnTo>
                    <a:lnTo>
                      <a:pt x="586" y="6765"/>
                    </a:lnTo>
                    <a:lnTo>
                      <a:pt x="415" y="6863"/>
                    </a:lnTo>
                    <a:lnTo>
                      <a:pt x="269" y="6985"/>
                    </a:lnTo>
                    <a:lnTo>
                      <a:pt x="147" y="7132"/>
                    </a:lnTo>
                    <a:lnTo>
                      <a:pt x="49" y="7278"/>
                    </a:lnTo>
                    <a:lnTo>
                      <a:pt x="0" y="7425"/>
                    </a:lnTo>
                    <a:lnTo>
                      <a:pt x="0" y="7596"/>
                    </a:lnTo>
                    <a:lnTo>
                      <a:pt x="0" y="7791"/>
                    </a:lnTo>
                    <a:lnTo>
                      <a:pt x="73" y="7987"/>
                    </a:lnTo>
                    <a:lnTo>
                      <a:pt x="1514" y="11308"/>
                    </a:lnTo>
                    <a:lnTo>
                      <a:pt x="1514" y="14874"/>
                    </a:lnTo>
                    <a:lnTo>
                      <a:pt x="1759" y="14752"/>
                    </a:lnTo>
                    <a:lnTo>
                      <a:pt x="2052" y="14630"/>
                    </a:lnTo>
                    <a:lnTo>
                      <a:pt x="2247" y="14581"/>
                    </a:lnTo>
                    <a:lnTo>
                      <a:pt x="2442" y="14556"/>
                    </a:lnTo>
                    <a:lnTo>
                      <a:pt x="2662" y="14532"/>
                    </a:lnTo>
                    <a:lnTo>
                      <a:pt x="2882" y="14508"/>
                    </a:lnTo>
                    <a:lnTo>
                      <a:pt x="3175" y="14532"/>
                    </a:lnTo>
                    <a:lnTo>
                      <a:pt x="3419" y="14556"/>
                    </a:lnTo>
                    <a:lnTo>
                      <a:pt x="3639" y="14605"/>
                    </a:lnTo>
                    <a:lnTo>
                      <a:pt x="3835" y="14678"/>
                    </a:lnTo>
                    <a:lnTo>
                      <a:pt x="4152" y="14801"/>
                    </a:lnTo>
                    <a:lnTo>
                      <a:pt x="4396" y="14947"/>
                    </a:lnTo>
                    <a:lnTo>
                      <a:pt x="4543" y="15020"/>
                    </a:lnTo>
                    <a:lnTo>
                      <a:pt x="4641" y="15069"/>
                    </a:lnTo>
                    <a:lnTo>
                      <a:pt x="4787" y="15094"/>
                    </a:lnTo>
                    <a:lnTo>
                      <a:pt x="5105" y="15094"/>
                    </a:lnTo>
                    <a:lnTo>
                      <a:pt x="5227" y="15069"/>
                    </a:lnTo>
                    <a:lnTo>
                      <a:pt x="5349" y="15020"/>
                    </a:lnTo>
                    <a:lnTo>
                      <a:pt x="5471" y="14947"/>
                    </a:lnTo>
                    <a:lnTo>
                      <a:pt x="5740" y="14801"/>
                    </a:lnTo>
                    <a:lnTo>
                      <a:pt x="6057" y="14678"/>
                    </a:lnTo>
                    <a:lnTo>
                      <a:pt x="6252" y="14605"/>
                    </a:lnTo>
                    <a:lnTo>
                      <a:pt x="6472" y="14556"/>
                    </a:lnTo>
                    <a:lnTo>
                      <a:pt x="6716" y="14532"/>
                    </a:lnTo>
                    <a:lnTo>
                      <a:pt x="6985" y="14508"/>
                    </a:lnTo>
                    <a:lnTo>
                      <a:pt x="7254" y="14532"/>
                    </a:lnTo>
                    <a:lnTo>
                      <a:pt x="7498" y="14556"/>
                    </a:lnTo>
                    <a:lnTo>
                      <a:pt x="7718" y="14605"/>
                    </a:lnTo>
                    <a:lnTo>
                      <a:pt x="7913" y="14678"/>
                    </a:lnTo>
                    <a:lnTo>
                      <a:pt x="8255" y="14801"/>
                    </a:lnTo>
                    <a:lnTo>
                      <a:pt x="8499" y="14947"/>
                    </a:lnTo>
                    <a:lnTo>
                      <a:pt x="8621" y="15020"/>
                    </a:lnTo>
                    <a:lnTo>
                      <a:pt x="8744" y="15069"/>
                    </a:lnTo>
                    <a:lnTo>
                      <a:pt x="8866" y="15094"/>
                    </a:lnTo>
                    <a:lnTo>
                      <a:pt x="9183" y="15094"/>
                    </a:lnTo>
                    <a:lnTo>
                      <a:pt x="9330" y="15069"/>
                    </a:lnTo>
                    <a:lnTo>
                      <a:pt x="9427" y="15020"/>
                    </a:lnTo>
                    <a:lnTo>
                      <a:pt x="9574" y="14947"/>
                    </a:lnTo>
                    <a:lnTo>
                      <a:pt x="9818" y="14801"/>
                    </a:lnTo>
                    <a:lnTo>
                      <a:pt x="10136" y="14678"/>
                    </a:lnTo>
                    <a:lnTo>
                      <a:pt x="10331" y="14605"/>
                    </a:lnTo>
                    <a:lnTo>
                      <a:pt x="10551" y="14556"/>
                    </a:lnTo>
                    <a:lnTo>
                      <a:pt x="10795" y="14532"/>
                    </a:lnTo>
                    <a:lnTo>
                      <a:pt x="11088" y="14508"/>
                    </a:lnTo>
                    <a:lnTo>
                      <a:pt x="11308" y="14532"/>
                    </a:lnTo>
                    <a:lnTo>
                      <a:pt x="11528" y="14556"/>
                    </a:lnTo>
                    <a:lnTo>
                      <a:pt x="11723" y="14581"/>
                    </a:lnTo>
                    <a:lnTo>
                      <a:pt x="11919" y="14630"/>
                    </a:lnTo>
                    <a:lnTo>
                      <a:pt x="12212" y="14752"/>
                    </a:lnTo>
                    <a:lnTo>
                      <a:pt x="12456" y="14874"/>
                    </a:lnTo>
                    <a:lnTo>
                      <a:pt x="12456" y="11308"/>
                    </a:lnTo>
                    <a:lnTo>
                      <a:pt x="13897" y="7987"/>
                    </a:lnTo>
                    <a:lnTo>
                      <a:pt x="13970" y="7791"/>
                    </a:lnTo>
                    <a:lnTo>
                      <a:pt x="13995" y="7596"/>
                    </a:lnTo>
                    <a:lnTo>
                      <a:pt x="13970" y="7425"/>
                    </a:lnTo>
                    <a:lnTo>
                      <a:pt x="13921" y="7278"/>
                    </a:lnTo>
                    <a:lnTo>
                      <a:pt x="13824" y="7132"/>
                    </a:lnTo>
                    <a:lnTo>
                      <a:pt x="13701" y="6985"/>
                    </a:lnTo>
                    <a:lnTo>
                      <a:pt x="13555" y="6863"/>
                    </a:lnTo>
                    <a:lnTo>
                      <a:pt x="13384" y="6765"/>
                    </a:lnTo>
                    <a:lnTo>
                      <a:pt x="12505" y="6423"/>
                    </a:lnTo>
                    <a:lnTo>
                      <a:pt x="12505" y="3542"/>
                    </a:lnTo>
                    <a:lnTo>
                      <a:pt x="10820" y="3542"/>
                    </a:lnTo>
                    <a:lnTo>
                      <a:pt x="10820" y="2027"/>
                    </a:lnTo>
                    <a:lnTo>
                      <a:pt x="8450" y="2027"/>
                    </a:lnTo>
                    <a:lnTo>
                      <a:pt x="8450" y="0"/>
                    </a:lnTo>
                    <a:lnTo>
                      <a:pt x="5520" y="0"/>
                    </a:lnTo>
                    <a:close/>
                  </a:path>
                </a:pathLst>
              </a:cu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lIns="91425" tIns="91425" rIns="91425" bIns="91425"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grpSp>
        <p:sp>
          <p:nvSpPr>
            <p:cNvPr id="38" name="Rectángulo 37">
              <a:extLst>
                <a:ext uri="{FF2B5EF4-FFF2-40B4-BE49-F238E27FC236}">
                  <a16:creationId xmlns:a16="http://schemas.microsoft.com/office/drawing/2014/main" id="{AFD470DB-C9A2-42A8-9E6C-7D2BB6F112C7}"/>
                </a:ext>
              </a:extLst>
            </p:cNvPr>
            <p:cNvSpPr/>
            <p:nvPr/>
          </p:nvSpPr>
          <p:spPr>
            <a:xfrm>
              <a:off x="307396" y="4906749"/>
              <a:ext cx="3872134" cy="243922"/>
            </a:xfrm>
            <a:prstGeom prst="rect">
              <a:avLst/>
            </a:prstGeom>
            <a:noFill/>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067"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Corte de la información: </a:t>
              </a:r>
              <a:r>
                <a:rPr lang="es-CO" sz="1067" dirty="0">
                  <a:solidFill>
                    <a:srgbClr val="073763"/>
                  </a:solidFill>
                  <a:latin typeface="Century Gothic" panose="020B0502020202020204" pitchFamily="34" charset="0"/>
                  <a:cs typeface="Arial" panose="020B0604020202020204" pitchFamily="34" charset="0"/>
                  <a:sym typeface="Arial" panose="020B0604020202020204" pitchFamily="34" charset="0"/>
                </a:rPr>
                <a:t>Diciembre</a:t>
              </a:r>
              <a:r>
                <a:rPr kumimoji="0" lang="es-CO" sz="1067"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de 2019</a:t>
              </a:r>
              <a:endParaRPr kumimoji="0" lang="es-CO" sz="933"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endParaRPr>
            </a:p>
          </p:txBody>
        </p:sp>
      </p:grpSp>
      <p:sp>
        <p:nvSpPr>
          <p:cNvPr id="62" name="Rectángulo 61">
            <a:extLst>
              <a:ext uri="{FF2B5EF4-FFF2-40B4-BE49-F238E27FC236}">
                <a16:creationId xmlns:a16="http://schemas.microsoft.com/office/drawing/2014/main" id="{3F45BF82-C1C8-4D62-AFE2-88F39D2E1A27}"/>
              </a:ext>
            </a:extLst>
          </p:cNvPr>
          <p:cNvSpPr/>
          <p:nvPr/>
        </p:nvSpPr>
        <p:spPr>
          <a:xfrm>
            <a:off x="4726264" y="3853497"/>
            <a:ext cx="7438274" cy="1880836"/>
          </a:xfrm>
          <a:prstGeom prst="rect">
            <a:avLst/>
          </a:prstGeom>
        </p:spPr>
        <p:txBody>
          <a:bodyPr wrap="square">
            <a:spAutoFit/>
          </a:bodyPr>
          <a:lstStyle/>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En el último año el empleo en 4G se ha incrementado del 23% </a:t>
            </a:r>
          </a:p>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54% Mano de obra no calificada y 46% Mano de obra no calificada</a:t>
            </a:r>
          </a:p>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71% vinculados son del área de influencia directa</a:t>
            </a:r>
          </a:p>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146 Empleos a personas en procesos de reintegración (ARN)</a:t>
            </a:r>
          </a:p>
          <a:p>
            <a:pPr marL="0" marR="0" lvl="0" indent="0" algn="l" defTabSz="1219170" rtl="0" eaLnBrk="0" fontAlgn="base" latinLnBrk="0" hangingPunct="0">
              <a:lnSpc>
                <a:spcPct val="200000"/>
              </a:lnSpc>
              <a:spcBef>
                <a:spcPct val="0"/>
              </a:spcBef>
              <a:spcAft>
                <a:spcPct val="0"/>
              </a:spcAft>
              <a:buClrTx/>
              <a:buSzTx/>
              <a:buFontTx/>
              <a:buNone/>
              <a:tabLst/>
              <a:defRPr/>
            </a:pPr>
            <a:r>
              <a:rPr kumimoji="0" lang="es-CO" sz="1200" b="0" i="0" u="none" strike="noStrike" kern="1200" cap="none" spc="0" normalizeH="0" baseline="0" noProof="0" dirty="0">
                <a:ln>
                  <a:noFill/>
                </a:ln>
                <a:solidFill>
                  <a:srgbClr val="000000"/>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lrededor de 7800 mujeres beneficiadas por vinculación laboral y acciones de emprendimiento. </a:t>
            </a:r>
          </a:p>
        </p:txBody>
      </p:sp>
      <p:sp>
        <p:nvSpPr>
          <p:cNvPr id="63" name="Freeform 12">
            <a:extLst>
              <a:ext uri="{FF2B5EF4-FFF2-40B4-BE49-F238E27FC236}">
                <a16:creationId xmlns:a16="http://schemas.microsoft.com/office/drawing/2014/main" id="{81EFC06D-BF23-46ED-BD87-608AFD85DC3E}"/>
              </a:ext>
            </a:extLst>
          </p:cNvPr>
          <p:cNvSpPr>
            <a:spLocks/>
          </p:cNvSpPr>
          <p:nvPr/>
        </p:nvSpPr>
        <p:spPr bwMode="auto">
          <a:xfrm>
            <a:off x="4492121" y="4005959"/>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4" name="Freeform 12">
            <a:extLst>
              <a:ext uri="{FF2B5EF4-FFF2-40B4-BE49-F238E27FC236}">
                <a16:creationId xmlns:a16="http://schemas.microsoft.com/office/drawing/2014/main" id="{DAE40705-32F5-47BB-AEDD-DB8C736B3788}"/>
              </a:ext>
            </a:extLst>
          </p:cNvPr>
          <p:cNvSpPr>
            <a:spLocks/>
          </p:cNvSpPr>
          <p:nvPr/>
        </p:nvSpPr>
        <p:spPr bwMode="auto">
          <a:xfrm>
            <a:off x="4482721" y="4343512"/>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5" name="Freeform 12">
            <a:extLst>
              <a:ext uri="{FF2B5EF4-FFF2-40B4-BE49-F238E27FC236}">
                <a16:creationId xmlns:a16="http://schemas.microsoft.com/office/drawing/2014/main" id="{F8145E75-6FE0-4A4B-AA49-803A6449E82C}"/>
              </a:ext>
            </a:extLst>
          </p:cNvPr>
          <p:cNvSpPr>
            <a:spLocks/>
          </p:cNvSpPr>
          <p:nvPr/>
        </p:nvSpPr>
        <p:spPr bwMode="auto">
          <a:xfrm>
            <a:off x="4477740" y="4703091"/>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6" name="Freeform 12">
            <a:extLst>
              <a:ext uri="{FF2B5EF4-FFF2-40B4-BE49-F238E27FC236}">
                <a16:creationId xmlns:a16="http://schemas.microsoft.com/office/drawing/2014/main" id="{82E9A707-027D-425B-96F3-B614E3A226F7}"/>
              </a:ext>
            </a:extLst>
          </p:cNvPr>
          <p:cNvSpPr>
            <a:spLocks/>
          </p:cNvSpPr>
          <p:nvPr/>
        </p:nvSpPr>
        <p:spPr bwMode="auto">
          <a:xfrm>
            <a:off x="4464300" y="5088656"/>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7" name="Freeform 12">
            <a:extLst>
              <a:ext uri="{FF2B5EF4-FFF2-40B4-BE49-F238E27FC236}">
                <a16:creationId xmlns:a16="http://schemas.microsoft.com/office/drawing/2014/main" id="{21CFAF73-FF60-4D02-9BAA-CD61D4253550}"/>
              </a:ext>
            </a:extLst>
          </p:cNvPr>
          <p:cNvSpPr>
            <a:spLocks/>
          </p:cNvSpPr>
          <p:nvPr/>
        </p:nvSpPr>
        <p:spPr bwMode="auto">
          <a:xfrm>
            <a:off x="4461078" y="5444227"/>
            <a:ext cx="291679" cy="288324"/>
          </a:xfrm>
          <a:custGeom>
            <a:avLst/>
            <a:gdLst>
              <a:gd name="T0" fmla="*/ 80 w 169"/>
              <a:gd name="T1" fmla="*/ 161 h 168"/>
              <a:gd name="T2" fmla="*/ 64 w 169"/>
              <a:gd name="T3" fmla="*/ 166 h 168"/>
              <a:gd name="T4" fmla="*/ 59 w 169"/>
              <a:gd name="T5" fmla="*/ 156 h 168"/>
              <a:gd name="T6" fmla="*/ 51 w 169"/>
              <a:gd name="T7" fmla="*/ 153 h 168"/>
              <a:gd name="T8" fmla="*/ 35 w 169"/>
              <a:gd name="T9" fmla="*/ 152 h 168"/>
              <a:gd name="T10" fmla="*/ 33 w 169"/>
              <a:gd name="T11" fmla="*/ 141 h 168"/>
              <a:gd name="T12" fmla="*/ 27 w 169"/>
              <a:gd name="T13" fmla="*/ 135 h 168"/>
              <a:gd name="T14" fmla="*/ 13 w 169"/>
              <a:gd name="T15" fmla="*/ 128 h 168"/>
              <a:gd name="T16" fmla="*/ 15 w 169"/>
              <a:gd name="T17" fmla="*/ 117 h 168"/>
              <a:gd name="T18" fmla="*/ 12 w 169"/>
              <a:gd name="T19" fmla="*/ 109 h 168"/>
              <a:gd name="T20" fmla="*/ 1 w 169"/>
              <a:gd name="T21" fmla="*/ 97 h 168"/>
              <a:gd name="T22" fmla="*/ 8 w 169"/>
              <a:gd name="T23" fmla="*/ 88 h 168"/>
              <a:gd name="T24" fmla="*/ 8 w 169"/>
              <a:gd name="T25" fmla="*/ 80 h 168"/>
              <a:gd name="T26" fmla="*/ 1 w 169"/>
              <a:gd name="T27" fmla="*/ 71 h 168"/>
              <a:gd name="T28" fmla="*/ 12 w 169"/>
              <a:gd name="T29" fmla="*/ 59 h 168"/>
              <a:gd name="T30" fmla="*/ 15 w 169"/>
              <a:gd name="T31" fmla="*/ 51 h 168"/>
              <a:gd name="T32" fmla="*/ 13 w 169"/>
              <a:gd name="T33" fmla="*/ 40 h 168"/>
              <a:gd name="T34" fmla="*/ 27 w 169"/>
              <a:gd name="T35" fmla="*/ 33 h 168"/>
              <a:gd name="T36" fmla="*/ 33 w 169"/>
              <a:gd name="T37" fmla="*/ 27 h 168"/>
              <a:gd name="T38" fmla="*/ 35 w 169"/>
              <a:gd name="T39" fmla="*/ 16 h 168"/>
              <a:gd name="T40" fmla="*/ 51 w 169"/>
              <a:gd name="T41" fmla="*/ 15 h 168"/>
              <a:gd name="T42" fmla="*/ 59 w 169"/>
              <a:gd name="T43" fmla="*/ 12 h 168"/>
              <a:gd name="T44" fmla="*/ 64 w 169"/>
              <a:gd name="T45" fmla="*/ 2 h 168"/>
              <a:gd name="T46" fmla="*/ 80 w 169"/>
              <a:gd name="T47" fmla="*/ 8 h 168"/>
              <a:gd name="T48" fmla="*/ 88 w 169"/>
              <a:gd name="T49" fmla="*/ 0 h 168"/>
              <a:gd name="T50" fmla="*/ 95 w 169"/>
              <a:gd name="T51" fmla="*/ 8 h 168"/>
              <a:gd name="T52" fmla="*/ 104 w 169"/>
              <a:gd name="T53" fmla="*/ 10 h 168"/>
              <a:gd name="T54" fmla="*/ 120 w 169"/>
              <a:gd name="T55" fmla="*/ 8 h 168"/>
              <a:gd name="T56" fmla="*/ 123 w 169"/>
              <a:gd name="T57" fmla="*/ 18 h 168"/>
              <a:gd name="T58" fmla="*/ 131 w 169"/>
              <a:gd name="T59" fmla="*/ 23 h 168"/>
              <a:gd name="T60" fmla="*/ 147 w 169"/>
              <a:gd name="T61" fmla="*/ 27 h 168"/>
              <a:gd name="T62" fmla="*/ 146 w 169"/>
              <a:gd name="T63" fmla="*/ 38 h 168"/>
              <a:gd name="T64" fmla="*/ 151 w 169"/>
              <a:gd name="T65" fmla="*/ 46 h 168"/>
              <a:gd name="T66" fmla="*/ 164 w 169"/>
              <a:gd name="T67" fmla="*/ 55 h 168"/>
              <a:gd name="T68" fmla="*/ 159 w 169"/>
              <a:gd name="T69" fmla="*/ 65 h 168"/>
              <a:gd name="T70" fmla="*/ 160 w 169"/>
              <a:gd name="T71" fmla="*/ 74 h 168"/>
              <a:gd name="T72" fmla="*/ 169 w 169"/>
              <a:gd name="T73" fmla="*/ 84 h 168"/>
              <a:gd name="T74" fmla="*/ 160 w 169"/>
              <a:gd name="T75" fmla="*/ 94 h 168"/>
              <a:gd name="T76" fmla="*/ 159 w 169"/>
              <a:gd name="T77" fmla="*/ 103 h 168"/>
              <a:gd name="T78" fmla="*/ 164 w 169"/>
              <a:gd name="T79" fmla="*/ 113 h 168"/>
              <a:gd name="T80" fmla="*/ 151 w 169"/>
              <a:gd name="T81" fmla="*/ 123 h 168"/>
              <a:gd name="T82" fmla="*/ 146 w 169"/>
              <a:gd name="T83" fmla="*/ 130 h 168"/>
              <a:gd name="T84" fmla="*/ 147 w 169"/>
              <a:gd name="T85" fmla="*/ 141 h 168"/>
              <a:gd name="T86" fmla="*/ 131 w 169"/>
              <a:gd name="T87" fmla="*/ 145 h 168"/>
              <a:gd name="T88" fmla="*/ 123 w 169"/>
              <a:gd name="T89" fmla="*/ 150 h 168"/>
              <a:gd name="T90" fmla="*/ 120 w 169"/>
              <a:gd name="T91" fmla="*/ 160 h 168"/>
              <a:gd name="T92" fmla="*/ 104 w 169"/>
              <a:gd name="T93" fmla="*/ 158 h 168"/>
              <a:gd name="T94" fmla="*/ 95 w 169"/>
              <a:gd name="T95" fmla="*/ 160 h 168"/>
              <a:gd name="T96" fmla="*/ 88 w 169"/>
              <a:gd name="T97" fmla="*/ 168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69" h="168">
                <a:moveTo>
                  <a:pt x="84" y="168"/>
                </a:moveTo>
                <a:cubicBezTo>
                  <a:pt x="83" y="168"/>
                  <a:pt x="82" y="168"/>
                  <a:pt x="81" y="168"/>
                </a:cubicBezTo>
                <a:cubicBezTo>
                  <a:pt x="80" y="161"/>
                  <a:pt x="80" y="161"/>
                  <a:pt x="80" y="161"/>
                </a:cubicBezTo>
                <a:cubicBezTo>
                  <a:pt x="80" y="161"/>
                  <a:pt x="80" y="161"/>
                  <a:pt x="80" y="161"/>
                </a:cubicBezTo>
                <a:cubicBezTo>
                  <a:pt x="78" y="160"/>
                  <a:pt x="76" y="160"/>
                  <a:pt x="74" y="160"/>
                </a:cubicBezTo>
                <a:cubicBezTo>
                  <a:pt x="74" y="160"/>
                  <a:pt x="74" y="160"/>
                  <a:pt x="74" y="160"/>
                </a:cubicBezTo>
                <a:cubicBezTo>
                  <a:pt x="72" y="167"/>
                  <a:pt x="72" y="167"/>
                  <a:pt x="72" y="167"/>
                </a:cubicBezTo>
                <a:cubicBezTo>
                  <a:pt x="69" y="167"/>
                  <a:pt x="67" y="166"/>
                  <a:pt x="64" y="166"/>
                </a:cubicBezTo>
                <a:cubicBezTo>
                  <a:pt x="65" y="158"/>
                  <a:pt x="65" y="158"/>
                  <a:pt x="65" y="158"/>
                </a:cubicBezTo>
                <a:cubicBezTo>
                  <a:pt x="65" y="158"/>
                  <a:pt x="65" y="158"/>
                  <a:pt x="65" y="158"/>
                </a:cubicBezTo>
                <a:cubicBezTo>
                  <a:pt x="63" y="158"/>
                  <a:pt x="61" y="157"/>
                  <a:pt x="60" y="157"/>
                </a:cubicBezTo>
                <a:cubicBezTo>
                  <a:pt x="59" y="156"/>
                  <a:pt x="59" y="156"/>
                  <a:pt x="59" y="156"/>
                </a:cubicBezTo>
                <a:cubicBezTo>
                  <a:pt x="56" y="163"/>
                  <a:pt x="56" y="163"/>
                  <a:pt x="56" y="163"/>
                </a:cubicBezTo>
                <a:cubicBezTo>
                  <a:pt x="53" y="162"/>
                  <a:pt x="51" y="161"/>
                  <a:pt x="49" y="160"/>
                </a:cubicBezTo>
                <a:cubicBezTo>
                  <a:pt x="51" y="153"/>
                  <a:pt x="51" y="153"/>
                  <a:pt x="51" y="153"/>
                </a:cubicBezTo>
                <a:cubicBezTo>
                  <a:pt x="51" y="153"/>
                  <a:pt x="51" y="153"/>
                  <a:pt x="51" y="153"/>
                </a:cubicBezTo>
                <a:cubicBezTo>
                  <a:pt x="49" y="152"/>
                  <a:pt x="48" y="151"/>
                  <a:pt x="46" y="150"/>
                </a:cubicBezTo>
                <a:cubicBezTo>
                  <a:pt x="46" y="150"/>
                  <a:pt x="46" y="150"/>
                  <a:pt x="46" y="150"/>
                </a:cubicBezTo>
                <a:cubicBezTo>
                  <a:pt x="41" y="156"/>
                  <a:pt x="41" y="156"/>
                  <a:pt x="41" y="156"/>
                </a:cubicBezTo>
                <a:cubicBezTo>
                  <a:pt x="39" y="155"/>
                  <a:pt x="37" y="153"/>
                  <a:pt x="35" y="152"/>
                </a:cubicBezTo>
                <a:cubicBezTo>
                  <a:pt x="38" y="145"/>
                  <a:pt x="38" y="145"/>
                  <a:pt x="38" y="145"/>
                </a:cubicBezTo>
                <a:cubicBezTo>
                  <a:pt x="38" y="145"/>
                  <a:pt x="38" y="145"/>
                  <a:pt x="38" y="145"/>
                </a:cubicBezTo>
                <a:cubicBezTo>
                  <a:pt x="37" y="144"/>
                  <a:pt x="35" y="143"/>
                  <a:pt x="34" y="142"/>
                </a:cubicBezTo>
                <a:cubicBezTo>
                  <a:pt x="33" y="141"/>
                  <a:pt x="33" y="141"/>
                  <a:pt x="33" y="141"/>
                </a:cubicBezTo>
                <a:cubicBezTo>
                  <a:pt x="28" y="146"/>
                  <a:pt x="28" y="146"/>
                  <a:pt x="28" y="146"/>
                </a:cubicBezTo>
                <a:cubicBezTo>
                  <a:pt x="26" y="145"/>
                  <a:pt x="24" y="143"/>
                  <a:pt x="22" y="141"/>
                </a:cubicBezTo>
                <a:cubicBezTo>
                  <a:pt x="27" y="135"/>
                  <a:pt x="27" y="135"/>
                  <a:pt x="27" y="135"/>
                </a:cubicBezTo>
                <a:cubicBezTo>
                  <a:pt x="27" y="135"/>
                  <a:pt x="27" y="135"/>
                  <a:pt x="27" y="135"/>
                </a:cubicBezTo>
                <a:cubicBezTo>
                  <a:pt x="26" y="133"/>
                  <a:pt x="25" y="132"/>
                  <a:pt x="24" y="131"/>
                </a:cubicBezTo>
                <a:cubicBezTo>
                  <a:pt x="23" y="130"/>
                  <a:pt x="23" y="130"/>
                  <a:pt x="23" y="130"/>
                </a:cubicBezTo>
                <a:cubicBezTo>
                  <a:pt x="17" y="134"/>
                  <a:pt x="17" y="134"/>
                  <a:pt x="17" y="134"/>
                </a:cubicBezTo>
                <a:cubicBezTo>
                  <a:pt x="15" y="132"/>
                  <a:pt x="14" y="130"/>
                  <a:pt x="13" y="128"/>
                </a:cubicBezTo>
                <a:cubicBezTo>
                  <a:pt x="18" y="123"/>
                  <a:pt x="18" y="123"/>
                  <a:pt x="18" y="123"/>
                </a:cubicBezTo>
                <a:cubicBezTo>
                  <a:pt x="18" y="123"/>
                  <a:pt x="18" y="123"/>
                  <a:pt x="18" y="123"/>
                </a:cubicBezTo>
                <a:cubicBezTo>
                  <a:pt x="17" y="121"/>
                  <a:pt x="16" y="119"/>
                  <a:pt x="16" y="118"/>
                </a:cubicBezTo>
                <a:cubicBezTo>
                  <a:pt x="15" y="117"/>
                  <a:pt x="15" y="117"/>
                  <a:pt x="15" y="117"/>
                </a:cubicBezTo>
                <a:cubicBezTo>
                  <a:pt x="8" y="120"/>
                  <a:pt x="8" y="120"/>
                  <a:pt x="8" y="120"/>
                </a:cubicBezTo>
                <a:cubicBezTo>
                  <a:pt x="7" y="117"/>
                  <a:pt x="6" y="115"/>
                  <a:pt x="5" y="113"/>
                </a:cubicBezTo>
                <a:cubicBezTo>
                  <a:pt x="12" y="109"/>
                  <a:pt x="12" y="109"/>
                  <a:pt x="12" y="109"/>
                </a:cubicBezTo>
                <a:cubicBezTo>
                  <a:pt x="12" y="109"/>
                  <a:pt x="12" y="109"/>
                  <a:pt x="12" y="109"/>
                </a:cubicBezTo>
                <a:cubicBezTo>
                  <a:pt x="11" y="107"/>
                  <a:pt x="11" y="105"/>
                  <a:pt x="10" y="104"/>
                </a:cubicBezTo>
                <a:cubicBezTo>
                  <a:pt x="10" y="103"/>
                  <a:pt x="10" y="103"/>
                  <a:pt x="10" y="103"/>
                </a:cubicBezTo>
                <a:cubicBezTo>
                  <a:pt x="3" y="104"/>
                  <a:pt x="3" y="104"/>
                  <a:pt x="3" y="104"/>
                </a:cubicBezTo>
                <a:cubicBezTo>
                  <a:pt x="2" y="102"/>
                  <a:pt x="2" y="99"/>
                  <a:pt x="1" y="97"/>
                </a:cubicBezTo>
                <a:cubicBezTo>
                  <a:pt x="9" y="95"/>
                  <a:pt x="9" y="95"/>
                  <a:pt x="9" y="95"/>
                </a:cubicBezTo>
                <a:cubicBezTo>
                  <a:pt x="9" y="94"/>
                  <a:pt x="9" y="94"/>
                  <a:pt x="9" y="94"/>
                </a:cubicBezTo>
                <a:cubicBezTo>
                  <a:pt x="8" y="92"/>
                  <a:pt x="8" y="91"/>
                  <a:pt x="8" y="89"/>
                </a:cubicBezTo>
                <a:cubicBezTo>
                  <a:pt x="8" y="88"/>
                  <a:pt x="8" y="88"/>
                  <a:pt x="8" y="88"/>
                </a:cubicBezTo>
                <a:cubicBezTo>
                  <a:pt x="0" y="88"/>
                  <a:pt x="0" y="88"/>
                  <a:pt x="0" y="88"/>
                </a:cubicBezTo>
                <a:cubicBezTo>
                  <a:pt x="0" y="87"/>
                  <a:pt x="0" y="85"/>
                  <a:pt x="0" y="84"/>
                </a:cubicBezTo>
                <a:cubicBezTo>
                  <a:pt x="0" y="83"/>
                  <a:pt x="0" y="82"/>
                  <a:pt x="0" y="80"/>
                </a:cubicBezTo>
                <a:cubicBezTo>
                  <a:pt x="8" y="80"/>
                  <a:pt x="8" y="80"/>
                  <a:pt x="8" y="80"/>
                </a:cubicBezTo>
                <a:cubicBezTo>
                  <a:pt x="8" y="79"/>
                  <a:pt x="8" y="79"/>
                  <a:pt x="8" y="79"/>
                </a:cubicBezTo>
                <a:cubicBezTo>
                  <a:pt x="8" y="78"/>
                  <a:pt x="8" y="76"/>
                  <a:pt x="9" y="74"/>
                </a:cubicBezTo>
                <a:cubicBezTo>
                  <a:pt x="9" y="73"/>
                  <a:pt x="9" y="73"/>
                  <a:pt x="9" y="73"/>
                </a:cubicBezTo>
                <a:cubicBezTo>
                  <a:pt x="1" y="71"/>
                  <a:pt x="1" y="71"/>
                  <a:pt x="1" y="71"/>
                </a:cubicBezTo>
                <a:cubicBezTo>
                  <a:pt x="2" y="69"/>
                  <a:pt x="2" y="66"/>
                  <a:pt x="3" y="64"/>
                </a:cubicBezTo>
                <a:cubicBezTo>
                  <a:pt x="10" y="65"/>
                  <a:pt x="10" y="65"/>
                  <a:pt x="10" y="65"/>
                </a:cubicBezTo>
                <a:cubicBezTo>
                  <a:pt x="10" y="64"/>
                  <a:pt x="10" y="64"/>
                  <a:pt x="10" y="64"/>
                </a:cubicBezTo>
                <a:cubicBezTo>
                  <a:pt x="11" y="63"/>
                  <a:pt x="11" y="61"/>
                  <a:pt x="12" y="59"/>
                </a:cubicBezTo>
                <a:cubicBezTo>
                  <a:pt x="12" y="59"/>
                  <a:pt x="12" y="59"/>
                  <a:pt x="12" y="59"/>
                </a:cubicBezTo>
                <a:cubicBezTo>
                  <a:pt x="5" y="55"/>
                  <a:pt x="5" y="55"/>
                  <a:pt x="5" y="55"/>
                </a:cubicBezTo>
                <a:cubicBezTo>
                  <a:pt x="6" y="53"/>
                  <a:pt x="7" y="51"/>
                  <a:pt x="8" y="49"/>
                </a:cubicBezTo>
                <a:cubicBezTo>
                  <a:pt x="15" y="51"/>
                  <a:pt x="15" y="51"/>
                  <a:pt x="15" y="51"/>
                </a:cubicBezTo>
                <a:cubicBezTo>
                  <a:pt x="16" y="50"/>
                  <a:pt x="16" y="50"/>
                  <a:pt x="16" y="50"/>
                </a:cubicBezTo>
                <a:cubicBezTo>
                  <a:pt x="16" y="49"/>
                  <a:pt x="17" y="47"/>
                  <a:pt x="18" y="46"/>
                </a:cubicBezTo>
                <a:cubicBezTo>
                  <a:pt x="18" y="45"/>
                  <a:pt x="18" y="45"/>
                  <a:pt x="18" y="45"/>
                </a:cubicBezTo>
                <a:cubicBezTo>
                  <a:pt x="13" y="40"/>
                  <a:pt x="13" y="40"/>
                  <a:pt x="13" y="40"/>
                </a:cubicBezTo>
                <a:cubicBezTo>
                  <a:pt x="14" y="38"/>
                  <a:pt x="15" y="36"/>
                  <a:pt x="17" y="34"/>
                </a:cubicBezTo>
                <a:cubicBezTo>
                  <a:pt x="23" y="38"/>
                  <a:pt x="23" y="38"/>
                  <a:pt x="23" y="38"/>
                </a:cubicBezTo>
                <a:cubicBezTo>
                  <a:pt x="24" y="38"/>
                  <a:pt x="24" y="38"/>
                  <a:pt x="24" y="38"/>
                </a:cubicBezTo>
                <a:cubicBezTo>
                  <a:pt x="25" y="36"/>
                  <a:pt x="26" y="35"/>
                  <a:pt x="27" y="33"/>
                </a:cubicBezTo>
                <a:cubicBezTo>
                  <a:pt x="27" y="33"/>
                  <a:pt x="27" y="33"/>
                  <a:pt x="27" y="33"/>
                </a:cubicBezTo>
                <a:cubicBezTo>
                  <a:pt x="22" y="27"/>
                  <a:pt x="22" y="27"/>
                  <a:pt x="22" y="27"/>
                </a:cubicBezTo>
                <a:cubicBezTo>
                  <a:pt x="24" y="25"/>
                  <a:pt x="26" y="24"/>
                  <a:pt x="28" y="22"/>
                </a:cubicBezTo>
                <a:cubicBezTo>
                  <a:pt x="33" y="27"/>
                  <a:pt x="33" y="27"/>
                  <a:pt x="33" y="27"/>
                </a:cubicBezTo>
                <a:cubicBezTo>
                  <a:pt x="34" y="27"/>
                  <a:pt x="34" y="27"/>
                  <a:pt x="34" y="27"/>
                </a:cubicBezTo>
                <a:cubicBezTo>
                  <a:pt x="35" y="25"/>
                  <a:pt x="37" y="24"/>
                  <a:pt x="38" y="23"/>
                </a:cubicBezTo>
                <a:cubicBezTo>
                  <a:pt x="38" y="23"/>
                  <a:pt x="38" y="23"/>
                  <a:pt x="38" y="23"/>
                </a:cubicBezTo>
                <a:cubicBezTo>
                  <a:pt x="35" y="16"/>
                  <a:pt x="35" y="16"/>
                  <a:pt x="35" y="16"/>
                </a:cubicBezTo>
                <a:cubicBezTo>
                  <a:pt x="37" y="15"/>
                  <a:pt x="39" y="13"/>
                  <a:pt x="41" y="12"/>
                </a:cubicBezTo>
                <a:cubicBezTo>
                  <a:pt x="46" y="18"/>
                  <a:pt x="46" y="18"/>
                  <a:pt x="46" y="18"/>
                </a:cubicBezTo>
                <a:cubicBezTo>
                  <a:pt x="46" y="18"/>
                  <a:pt x="46" y="18"/>
                  <a:pt x="46" y="18"/>
                </a:cubicBezTo>
                <a:cubicBezTo>
                  <a:pt x="48" y="17"/>
                  <a:pt x="49" y="16"/>
                  <a:pt x="51" y="15"/>
                </a:cubicBezTo>
                <a:cubicBezTo>
                  <a:pt x="51" y="15"/>
                  <a:pt x="51" y="15"/>
                  <a:pt x="51" y="15"/>
                </a:cubicBezTo>
                <a:cubicBezTo>
                  <a:pt x="49" y="8"/>
                  <a:pt x="49" y="8"/>
                  <a:pt x="49" y="8"/>
                </a:cubicBezTo>
                <a:cubicBezTo>
                  <a:pt x="51" y="7"/>
                  <a:pt x="53" y="6"/>
                  <a:pt x="56" y="5"/>
                </a:cubicBezTo>
                <a:cubicBezTo>
                  <a:pt x="59" y="12"/>
                  <a:pt x="59" y="12"/>
                  <a:pt x="59" y="12"/>
                </a:cubicBezTo>
                <a:cubicBezTo>
                  <a:pt x="60" y="12"/>
                  <a:pt x="60" y="12"/>
                  <a:pt x="60" y="12"/>
                </a:cubicBezTo>
                <a:cubicBezTo>
                  <a:pt x="61" y="11"/>
                  <a:pt x="63" y="10"/>
                  <a:pt x="65" y="10"/>
                </a:cubicBezTo>
                <a:cubicBezTo>
                  <a:pt x="65" y="10"/>
                  <a:pt x="65" y="10"/>
                  <a:pt x="65" y="10"/>
                </a:cubicBezTo>
                <a:cubicBezTo>
                  <a:pt x="64" y="2"/>
                  <a:pt x="64" y="2"/>
                  <a:pt x="64" y="2"/>
                </a:cubicBezTo>
                <a:cubicBezTo>
                  <a:pt x="67" y="2"/>
                  <a:pt x="69" y="1"/>
                  <a:pt x="72" y="1"/>
                </a:cubicBezTo>
                <a:cubicBezTo>
                  <a:pt x="74" y="8"/>
                  <a:pt x="74" y="8"/>
                  <a:pt x="74" y="8"/>
                </a:cubicBezTo>
                <a:cubicBezTo>
                  <a:pt x="74" y="8"/>
                  <a:pt x="74" y="8"/>
                  <a:pt x="74" y="8"/>
                </a:cubicBezTo>
                <a:cubicBezTo>
                  <a:pt x="76" y="8"/>
                  <a:pt x="78" y="8"/>
                  <a:pt x="80" y="8"/>
                </a:cubicBezTo>
                <a:cubicBezTo>
                  <a:pt x="80" y="8"/>
                  <a:pt x="80" y="8"/>
                  <a:pt x="80" y="8"/>
                </a:cubicBezTo>
                <a:cubicBezTo>
                  <a:pt x="81" y="0"/>
                  <a:pt x="81" y="0"/>
                  <a:pt x="81" y="0"/>
                </a:cubicBezTo>
                <a:cubicBezTo>
                  <a:pt x="82" y="0"/>
                  <a:pt x="83" y="0"/>
                  <a:pt x="84" y="0"/>
                </a:cubicBezTo>
                <a:cubicBezTo>
                  <a:pt x="86" y="0"/>
                  <a:pt x="87" y="0"/>
                  <a:pt x="88" y="0"/>
                </a:cubicBezTo>
                <a:cubicBezTo>
                  <a:pt x="89" y="8"/>
                  <a:pt x="89" y="8"/>
                  <a:pt x="89" y="8"/>
                </a:cubicBezTo>
                <a:cubicBezTo>
                  <a:pt x="89" y="8"/>
                  <a:pt x="89" y="8"/>
                  <a:pt x="89" y="8"/>
                </a:cubicBezTo>
                <a:cubicBezTo>
                  <a:pt x="91" y="8"/>
                  <a:pt x="93" y="8"/>
                  <a:pt x="95" y="8"/>
                </a:cubicBezTo>
                <a:cubicBezTo>
                  <a:pt x="95" y="8"/>
                  <a:pt x="95" y="8"/>
                  <a:pt x="95" y="8"/>
                </a:cubicBezTo>
                <a:cubicBezTo>
                  <a:pt x="97" y="1"/>
                  <a:pt x="97" y="1"/>
                  <a:pt x="97" y="1"/>
                </a:cubicBezTo>
                <a:cubicBezTo>
                  <a:pt x="100" y="1"/>
                  <a:pt x="102" y="2"/>
                  <a:pt x="104" y="2"/>
                </a:cubicBezTo>
                <a:cubicBezTo>
                  <a:pt x="104" y="10"/>
                  <a:pt x="104" y="10"/>
                  <a:pt x="104" y="10"/>
                </a:cubicBezTo>
                <a:cubicBezTo>
                  <a:pt x="104" y="10"/>
                  <a:pt x="104" y="10"/>
                  <a:pt x="104" y="10"/>
                </a:cubicBezTo>
                <a:cubicBezTo>
                  <a:pt x="106" y="10"/>
                  <a:pt x="107" y="11"/>
                  <a:pt x="109" y="12"/>
                </a:cubicBezTo>
                <a:cubicBezTo>
                  <a:pt x="110" y="12"/>
                  <a:pt x="110" y="12"/>
                  <a:pt x="110" y="12"/>
                </a:cubicBezTo>
                <a:cubicBezTo>
                  <a:pt x="113" y="5"/>
                  <a:pt x="113" y="5"/>
                  <a:pt x="113" y="5"/>
                </a:cubicBezTo>
                <a:cubicBezTo>
                  <a:pt x="116" y="6"/>
                  <a:pt x="118" y="7"/>
                  <a:pt x="120" y="8"/>
                </a:cubicBezTo>
                <a:cubicBezTo>
                  <a:pt x="118" y="15"/>
                  <a:pt x="118" y="15"/>
                  <a:pt x="118" y="15"/>
                </a:cubicBezTo>
                <a:cubicBezTo>
                  <a:pt x="118" y="15"/>
                  <a:pt x="118" y="15"/>
                  <a:pt x="118" y="15"/>
                </a:cubicBezTo>
                <a:cubicBezTo>
                  <a:pt x="120" y="16"/>
                  <a:pt x="121" y="17"/>
                  <a:pt x="123" y="18"/>
                </a:cubicBezTo>
                <a:cubicBezTo>
                  <a:pt x="123" y="18"/>
                  <a:pt x="123" y="18"/>
                  <a:pt x="123" y="18"/>
                </a:cubicBezTo>
                <a:cubicBezTo>
                  <a:pt x="128" y="12"/>
                  <a:pt x="128" y="12"/>
                  <a:pt x="128" y="12"/>
                </a:cubicBezTo>
                <a:cubicBezTo>
                  <a:pt x="130" y="13"/>
                  <a:pt x="132" y="15"/>
                  <a:pt x="134" y="16"/>
                </a:cubicBezTo>
                <a:cubicBezTo>
                  <a:pt x="131" y="23"/>
                  <a:pt x="131" y="23"/>
                  <a:pt x="131" y="23"/>
                </a:cubicBezTo>
                <a:cubicBezTo>
                  <a:pt x="131" y="23"/>
                  <a:pt x="131" y="23"/>
                  <a:pt x="131" y="23"/>
                </a:cubicBezTo>
                <a:cubicBezTo>
                  <a:pt x="132" y="24"/>
                  <a:pt x="134" y="25"/>
                  <a:pt x="135" y="27"/>
                </a:cubicBezTo>
                <a:cubicBezTo>
                  <a:pt x="135" y="27"/>
                  <a:pt x="135" y="27"/>
                  <a:pt x="135" y="27"/>
                </a:cubicBezTo>
                <a:cubicBezTo>
                  <a:pt x="141" y="22"/>
                  <a:pt x="141" y="22"/>
                  <a:pt x="141" y="22"/>
                </a:cubicBezTo>
                <a:cubicBezTo>
                  <a:pt x="143" y="24"/>
                  <a:pt x="145" y="25"/>
                  <a:pt x="147" y="27"/>
                </a:cubicBezTo>
                <a:cubicBezTo>
                  <a:pt x="142" y="33"/>
                  <a:pt x="142" y="33"/>
                  <a:pt x="142" y="33"/>
                </a:cubicBezTo>
                <a:cubicBezTo>
                  <a:pt x="142" y="33"/>
                  <a:pt x="142" y="33"/>
                  <a:pt x="142" y="33"/>
                </a:cubicBezTo>
                <a:cubicBezTo>
                  <a:pt x="143" y="35"/>
                  <a:pt x="144" y="36"/>
                  <a:pt x="145" y="38"/>
                </a:cubicBezTo>
                <a:cubicBezTo>
                  <a:pt x="146" y="38"/>
                  <a:pt x="146" y="38"/>
                  <a:pt x="146" y="38"/>
                </a:cubicBezTo>
                <a:cubicBezTo>
                  <a:pt x="152" y="34"/>
                  <a:pt x="152" y="34"/>
                  <a:pt x="152" y="34"/>
                </a:cubicBezTo>
                <a:cubicBezTo>
                  <a:pt x="154" y="36"/>
                  <a:pt x="155" y="38"/>
                  <a:pt x="156" y="40"/>
                </a:cubicBezTo>
                <a:cubicBezTo>
                  <a:pt x="151" y="45"/>
                  <a:pt x="151" y="45"/>
                  <a:pt x="151" y="45"/>
                </a:cubicBezTo>
                <a:cubicBezTo>
                  <a:pt x="151" y="46"/>
                  <a:pt x="151" y="46"/>
                  <a:pt x="151" y="46"/>
                </a:cubicBezTo>
                <a:cubicBezTo>
                  <a:pt x="152" y="47"/>
                  <a:pt x="153" y="49"/>
                  <a:pt x="153" y="50"/>
                </a:cubicBezTo>
                <a:cubicBezTo>
                  <a:pt x="153" y="51"/>
                  <a:pt x="153" y="51"/>
                  <a:pt x="153" y="51"/>
                </a:cubicBezTo>
                <a:cubicBezTo>
                  <a:pt x="161" y="49"/>
                  <a:pt x="161" y="49"/>
                  <a:pt x="161" y="49"/>
                </a:cubicBezTo>
                <a:cubicBezTo>
                  <a:pt x="162" y="51"/>
                  <a:pt x="163" y="53"/>
                  <a:pt x="164" y="55"/>
                </a:cubicBezTo>
                <a:cubicBezTo>
                  <a:pt x="157" y="59"/>
                  <a:pt x="157" y="59"/>
                  <a:pt x="157" y="59"/>
                </a:cubicBezTo>
                <a:cubicBezTo>
                  <a:pt x="157" y="59"/>
                  <a:pt x="157" y="59"/>
                  <a:pt x="157" y="59"/>
                </a:cubicBezTo>
                <a:cubicBezTo>
                  <a:pt x="158" y="61"/>
                  <a:pt x="158" y="63"/>
                  <a:pt x="159" y="64"/>
                </a:cubicBezTo>
                <a:cubicBezTo>
                  <a:pt x="159" y="65"/>
                  <a:pt x="159" y="65"/>
                  <a:pt x="159" y="65"/>
                </a:cubicBezTo>
                <a:cubicBezTo>
                  <a:pt x="166" y="64"/>
                  <a:pt x="166" y="64"/>
                  <a:pt x="166" y="64"/>
                </a:cubicBezTo>
                <a:cubicBezTo>
                  <a:pt x="167" y="66"/>
                  <a:pt x="167" y="69"/>
                  <a:pt x="168" y="71"/>
                </a:cubicBezTo>
                <a:cubicBezTo>
                  <a:pt x="160" y="73"/>
                  <a:pt x="160" y="73"/>
                  <a:pt x="160" y="73"/>
                </a:cubicBezTo>
                <a:cubicBezTo>
                  <a:pt x="160" y="74"/>
                  <a:pt x="160" y="74"/>
                  <a:pt x="160" y="74"/>
                </a:cubicBezTo>
                <a:cubicBezTo>
                  <a:pt x="161" y="76"/>
                  <a:pt x="161" y="78"/>
                  <a:pt x="161" y="79"/>
                </a:cubicBezTo>
                <a:cubicBezTo>
                  <a:pt x="161" y="80"/>
                  <a:pt x="161" y="80"/>
                  <a:pt x="161" y="80"/>
                </a:cubicBezTo>
                <a:cubicBezTo>
                  <a:pt x="169" y="80"/>
                  <a:pt x="169" y="80"/>
                  <a:pt x="169" y="80"/>
                </a:cubicBezTo>
                <a:cubicBezTo>
                  <a:pt x="169" y="82"/>
                  <a:pt x="169" y="83"/>
                  <a:pt x="169" y="84"/>
                </a:cubicBezTo>
                <a:cubicBezTo>
                  <a:pt x="169" y="85"/>
                  <a:pt x="169" y="87"/>
                  <a:pt x="169" y="88"/>
                </a:cubicBezTo>
                <a:cubicBezTo>
                  <a:pt x="161" y="88"/>
                  <a:pt x="161" y="88"/>
                  <a:pt x="161" y="88"/>
                </a:cubicBezTo>
                <a:cubicBezTo>
                  <a:pt x="161" y="89"/>
                  <a:pt x="161" y="89"/>
                  <a:pt x="161" y="89"/>
                </a:cubicBezTo>
                <a:cubicBezTo>
                  <a:pt x="161" y="91"/>
                  <a:pt x="161" y="92"/>
                  <a:pt x="160" y="94"/>
                </a:cubicBezTo>
                <a:cubicBezTo>
                  <a:pt x="160" y="95"/>
                  <a:pt x="160" y="95"/>
                  <a:pt x="160" y="95"/>
                </a:cubicBezTo>
                <a:cubicBezTo>
                  <a:pt x="168" y="97"/>
                  <a:pt x="168" y="97"/>
                  <a:pt x="168" y="97"/>
                </a:cubicBezTo>
                <a:cubicBezTo>
                  <a:pt x="167" y="99"/>
                  <a:pt x="167" y="102"/>
                  <a:pt x="166" y="104"/>
                </a:cubicBezTo>
                <a:cubicBezTo>
                  <a:pt x="159" y="103"/>
                  <a:pt x="159" y="103"/>
                  <a:pt x="159" y="103"/>
                </a:cubicBezTo>
                <a:cubicBezTo>
                  <a:pt x="159" y="104"/>
                  <a:pt x="159" y="104"/>
                  <a:pt x="159" y="104"/>
                </a:cubicBezTo>
                <a:cubicBezTo>
                  <a:pt x="158" y="105"/>
                  <a:pt x="158" y="107"/>
                  <a:pt x="157" y="109"/>
                </a:cubicBezTo>
                <a:cubicBezTo>
                  <a:pt x="157" y="109"/>
                  <a:pt x="157" y="109"/>
                  <a:pt x="157" y="109"/>
                </a:cubicBezTo>
                <a:cubicBezTo>
                  <a:pt x="164" y="113"/>
                  <a:pt x="164" y="113"/>
                  <a:pt x="164" y="113"/>
                </a:cubicBezTo>
                <a:cubicBezTo>
                  <a:pt x="163" y="115"/>
                  <a:pt x="162" y="117"/>
                  <a:pt x="161" y="120"/>
                </a:cubicBezTo>
                <a:cubicBezTo>
                  <a:pt x="153" y="117"/>
                  <a:pt x="153" y="117"/>
                  <a:pt x="153" y="117"/>
                </a:cubicBezTo>
                <a:cubicBezTo>
                  <a:pt x="153" y="118"/>
                  <a:pt x="153" y="118"/>
                  <a:pt x="153" y="118"/>
                </a:cubicBezTo>
                <a:cubicBezTo>
                  <a:pt x="153" y="119"/>
                  <a:pt x="152" y="121"/>
                  <a:pt x="151" y="123"/>
                </a:cubicBezTo>
                <a:cubicBezTo>
                  <a:pt x="151" y="123"/>
                  <a:pt x="151" y="123"/>
                  <a:pt x="151" y="123"/>
                </a:cubicBezTo>
                <a:cubicBezTo>
                  <a:pt x="156" y="128"/>
                  <a:pt x="156" y="128"/>
                  <a:pt x="156" y="128"/>
                </a:cubicBezTo>
                <a:cubicBezTo>
                  <a:pt x="155" y="130"/>
                  <a:pt x="154" y="132"/>
                  <a:pt x="152" y="134"/>
                </a:cubicBezTo>
                <a:cubicBezTo>
                  <a:pt x="146" y="130"/>
                  <a:pt x="146" y="130"/>
                  <a:pt x="146" y="130"/>
                </a:cubicBezTo>
                <a:cubicBezTo>
                  <a:pt x="145" y="131"/>
                  <a:pt x="145" y="131"/>
                  <a:pt x="145" y="131"/>
                </a:cubicBezTo>
                <a:cubicBezTo>
                  <a:pt x="144" y="132"/>
                  <a:pt x="143" y="133"/>
                  <a:pt x="142" y="135"/>
                </a:cubicBezTo>
                <a:cubicBezTo>
                  <a:pt x="142" y="135"/>
                  <a:pt x="142" y="135"/>
                  <a:pt x="142" y="135"/>
                </a:cubicBezTo>
                <a:cubicBezTo>
                  <a:pt x="147" y="141"/>
                  <a:pt x="147" y="141"/>
                  <a:pt x="147" y="141"/>
                </a:cubicBezTo>
                <a:cubicBezTo>
                  <a:pt x="145" y="143"/>
                  <a:pt x="143" y="145"/>
                  <a:pt x="141" y="146"/>
                </a:cubicBezTo>
                <a:cubicBezTo>
                  <a:pt x="135" y="141"/>
                  <a:pt x="135" y="141"/>
                  <a:pt x="135" y="141"/>
                </a:cubicBezTo>
                <a:cubicBezTo>
                  <a:pt x="135" y="142"/>
                  <a:pt x="135" y="142"/>
                  <a:pt x="135" y="142"/>
                </a:cubicBezTo>
                <a:cubicBezTo>
                  <a:pt x="134" y="143"/>
                  <a:pt x="132" y="144"/>
                  <a:pt x="131" y="145"/>
                </a:cubicBezTo>
                <a:cubicBezTo>
                  <a:pt x="131" y="145"/>
                  <a:pt x="131" y="145"/>
                  <a:pt x="131" y="145"/>
                </a:cubicBezTo>
                <a:cubicBezTo>
                  <a:pt x="134" y="152"/>
                  <a:pt x="134" y="152"/>
                  <a:pt x="134" y="152"/>
                </a:cubicBezTo>
                <a:cubicBezTo>
                  <a:pt x="132" y="153"/>
                  <a:pt x="130" y="155"/>
                  <a:pt x="128" y="156"/>
                </a:cubicBezTo>
                <a:cubicBezTo>
                  <a:pt x="123" y="150"/>
                  <a:pt x="123" y="150"/>
                  <a:pt x="123" y="150"/>
                </a:cubicBezTo>
                <a:cubicBezTo>
                  <a:pt x="123" y="150"/>
                  <a:pt x="123" y="150"/>
                  <a:pt x="123" y="150"/>
                </a:cubicBezTo>
                <a:cubicBezTo>
                  <a:pt x="121" y="151"/>
                  <a:pt x="120" y="152"/>
                  <a:pt x="118" y="153"/>
                </a:cubicBezTo>
                <a:cubicBezTo>
                  <a:pt x="118" y="153"/>
                  <a:pt x="118" y="153"/>
                  <a:pt x="118" y="153"/>
                </a:cubicBezTo>
                <a:cubicBezTo>
                  <a:pt x="120" y="160"/>
                  <a:pt x="120" y="160"/>
                  <a:pt x="120" y="160"/>
                </a:cubicBezTo>
                <a:cubicBezTo>
                  <a:pt x="118" y="161"/>
                  <a:pt x="116" y="162"/>
                  <a:pt x="113" y="163"/>
                </a:cubicBezTo>
                <a:cubicBezTo>
                  <a:pt x="110" y="156"/>
                  <a:pt x="110" y="156"/>
                  <a:pt x="110" y="156"/>
                </a:cubicBezTo>
                <a:cubicBezTo>
                  <a:pt x="109" y="157"/>
                  <a:pt x="109" y="157"/>
                  <a:pt x="109" y="157"/>
                </a:cubicBezTo>
                <a:cubicBezTo>
                  <a:pt x="107" y="157"/>
                  <a:pt x="106" y="158"/>
                  <a:pt x="104" y="158"/>
                </a:cubicBezTo>
                <a:cubicBezTo>
                  <a:pt x="104" y="158"/>
                  <a:pt x="104" y="158"/>
                  <a:pt x="104" y="158"/>
                </a:cubicBezTo>
                <a:cubicBezTo>
                  <a:pt x="104" y="166"/>
                  <a:pt x="104" y="166"/>
                  <a:pt x="104" y="166"/>
                </a:cubicBezTo>
                <a:cubicBezTo>
                  <a:pt x="102" y="166"/>
                  <a:pt x="100" y="167"/>
                  <a:pt x="97" y="167"/>
                </a:cubicBezTo>
                <a:cubicBezTo>
                  <a:pt x="95" y="160"/>
                  <a:pt x="95" y="160"/>
                  <a:pt x="95" y="160"/>
                </a:cubicBezTo>
                <a:cubicBezTo>
                  <a:pt x="95" y="160"/>
                  <a:pt x="95" y="160"/>
                  <a:pt x="95" y="160"/>
                </a:cubicBezTo>
                <a:cubicBezTo>
                  <a:pt x="93" y="160"/>
                  <a:pt x="91" y="160"/>
                  <a:pt x="89" y="161"/>
                </a:cubicBezTo>
                <a:cubicBezTo>
                  <a:pt x="89" y="161"/>
                  <a:pt x="89" y="161"/>
                  <a:pt x="89" y="161"/>
                </a:cubicBezTo>
                <a:cubicBezTo>
                  <a:pt x="88" y="168"/>
                  <a:pt x="88" y="168"/>
                  <a:pt x="88" y="168"/>
                </a:cubicBezTo>
                <a:cubicBezTo>
                  <a:pt x="87" y="168"/>
                  <a:pt x="86" y="168"/>
                  <a:pt x="84" y="168"/>
                </a:cubicBezTo>
                <a:close/>
              </a:path>
            </a:pathLst>
          </a:custGeom>
          <a:solidFill>
            <a:srgbClr val="FF6600"/>
          </a:solidFill>
          <a:ln>
            <a:noFill/>
          </a:ln>
          <a:effectLst>
            <a:outerShdw blurRad="25400" dist="38100" dir="2400000" algn="ctr" rotWithShape="0">
              <a:srgbClr val="000000">
                <a:alpha val="10000"/>
              </a:srgbClr>
            </a:outerShdw>
          </a:effectLst>
        </p:spPr>
        <p:txBody>
          <a:bodyPr/>
          <a:lstStyle/>
          <a:p>
            <a:pPr marL="0" marR="0" lvl="0" indent="0" algn="l" defTabSz="1131866" rtl="0" eaLnBrk="1" fontAlgn="auto" latinLnBrk="0" hangingPunct="1">
              <a:lnSpc>
                <a:spcPct val="100000"/>
              </a:lnSpc>
              <a:spcBef>
                <a:spcPts val="0"/>
              </a:spcBef>
              <a:spcAft>
                <a:spcPts val="0"/>
              </a:spcAft>
              <a:buClrTx/>
              <a:buSzTx/>
              <a:buFontTx/>
              <a:buNone/>
              <a:tabLst/>
              <a:defRPr/>
            </a:pPr>
            <a:endParaRPr kumimoji="0" lang="en-US" sz="1867" b="0" i="0" u="none" strike="noStrike" kern="1200" cap="none" spc="0" normalizeH="0" baseline="0" noProof="0" dirty="0">
              <a:ln>
                <a:noFill/>
              </a:ln>
              <a:solidFill>
                <a:srgbClr val="000000"/>
              </a:solidFill>
              <a:effectLst/>
              <a:uLnTx/>
              <a:uFillTx/>
              <a:latin typeface="Roboto Thin"/>
              <a:ea typeface="+mn-ea"/>
              <a:cs typeface="Arial" panose="020B0604020202020204" pitchFamily="34" charset="0"/>
              <a:sym typeface="Arial" panose="020B0604020202020204" pitchFamily="34" charset="0"/>
            </a:endParaRPr>
          </a:p>
        </p:txBody>
      </p:sp>
      <p:sp>
        <p:nvSpPr>
          <p:cNvPr id="68" name="Rectángulo 67">
            <a:extLst>
              <a:ext uri="{FF2B5EF4-FFF2-40B4-BE49-F238E27FC236}">
                <a16:creationId xmlns:a16="http://schemas.microsoft.com/office/drawing/2014/main" id="{6BAF6BDC-E974-4DC1-86B2-6B1445188FBE}"/>
              </a:ext>
            </a:extLst>
          </p:cNvPr>
          <p:cNvSpPr/>
          <p:nvPr/>
        </p:nvSpPr>
        <p:spPr>
          <a:xfrm>
            <a:off x="2307081" y="652769"/>
            <a:ext cx="8342984" cy="8617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ctr" defTabSz="914377" rtl="0" eaLnBrk="1" fontAlgn="base" latinLnBrk="0" hangingPunct="1">
              <a:lnSpc>
                <a:spcPct val="100000"/>
              </a:lnSpc>
              <a:spcBef>
                <a:spcPct val="20000"/>
              </a:spcBef>
              <a:spcAft>
                <a:spcPct val="0"/>
              </a:spcAft>
              <a:buClrTx/>
              <a:buSzTx/>
              <a:buFontTx/>
              <a:buNone/>
              <a:tabLst/>
              <a:defRPr/>
            </a:pPr>
            <a:r>
              <a:rPr kumimoji="0" lang="es-CO" sz="2667"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ORTES DE LA ANI A LA </a:t>
            </a:r>
            <a:r>
              <a:rPr kumimoji="0" lang="es-CO" sz="2667"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G</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ENERACIÓN DE </a:t>
            </a:r>
            <a:r>
              <a:rPr kumimoji="0" lang="es-CO" sz="2667"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E</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PLEO</a:t>
            </a:r>
          </a:p>
        </p:txBody>
      </p:sp>
    </p:spTree>
    <p:extLst>
      <p:ext uri="{BB962C8B-B14F-4D97-AF65-F5344CB8AC3E}">
        <p14:creationId xmlns:p14="http://schemas.microsoft.com/office/powerpoint/2010/main" val="230462975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upo 12">
            <a:extLst>
              <a:ext uri="{FF2B5EF4-FFF2-40B4-BE49-F238E27FC236}">
                <a16:creationId xmlns:a16="http://schemas.microsoft.com/office/drawing/2014/main" id="{7D9CACA8-DDE2-43BB-AB65-409521FD4DB8}"/>
              </a:ext>
            </a:extLst>
          </p:cNvPr>
          <p:cNvGrpSpPr>
            <a:grpSpLocks/>
          </p:cNvGrpSpPr>
          <p:nvPr/>
        </p:nvGrpSpPr>
        <p:grpSpPr bwMode="auto">
          <a:xfrm>
            <a:off x="2220035" y="2123264"/>
            <a:ext cx="3055351" cy="3526869"/>
            <a:chOff x="684214" y="2060575"/>
            <a:chExt cx="2232025" cy="3455988"/>
          </a:xfrm>
        </p:grpSpPr>
        <p:sp>
          <p:nvSpPr>
            <p:cNvPr id="10" name="Redondear rectángulo de esquina diagonal 1">
              <a:extLst>
                <a:ext uri="{FF2B5EF4-FFF2-40B4-BE49-F238E27FC236}">
                  <a16:creationId xmlns:a16="http://schemas.microsoft.com/office/drawing/2014/main" id="{F80B9048-32D9-4283-829A-B1546F05CE56}"/>
                </a:ext>
              </a:extLst>
            </p:cNvPr>
            <p:cNvSpPr/>
            <p:nvPr/>
          </p:nvSpPr>
          <p:spPr>
            <a:xfrm>
              <a:off x="684214" y="2060575"/>
              <a:ext cx="2232025" cy="3455988"/>
            </a:xfrm>
            <a:prstGeom prst="round2DiagRect">
              <a:avLst>
                <a:gd name="adj1" fmla="val 19895"/>
                <a:gd name="adj2" fmla="val 0"/>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11" name="Redondear rectángulo de esquina diagonal 5">
              <a:extLst>
                <a:ext uri="{FF2B5EF4-FFF2-40B4-BE49-F238E27FC236}">
                  <a16:creationId xmlns:a16="http://schemas.microsoft.com/office/drawing/2014/main" id="{97EB1BC6-C9EA-44FB-8843-2C7B59D8B0CF}"/>
                </a:ext>
              </a:extLst>
            </p:cNvPr>
            <p:cNvSpPr/>
            <p:nvPr/>
          </p:nvSpPr>
          <p:spPr>
            <a:xfrm>
              <a:off x="684214" y="2060575"/>
              <a:ext cx="2232025" cy="997019"/>
            </a:xfrm>
            <a:prstGeom prst="round2DiagRect">
              <a:avLst>
                <a:gd name="adj1" fmla="val 42065"/>
                <a:gd name="adj2" fmla="val 0"/>
              </a:avLst>
            </a:prstGeom>
            <a:solidFill>
              <a:schemeClr val="bg2">
                <a:lumMod val="75000"/>
                <a:alpha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6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grpSp>
      <p:sp>
        <p:nvSpPr>
          <p:cNvPr id="12" name="Redondear rectángulo de esquina diagonal 20">
            <a:extLst>
              <a:ext uri="{FF2B5EF4-FFF2-40B4-BE49-F238E27FC236}">
                <a16:creationId xmlns:a16="http://schemas.microsoft.com/office/drawing/2014/main" id="{C75559CA-912C-476E-801B-A77B07E966DE}"/>
              </a:ext>
            </a:extLst>
          </p:cNvPr>
          <p:cNvSpPr/>
          <p:nvPr/>
        </p:nvSpPr>
        <p:spPr bwMode="auto">
          <a:xfrm>
            <a:off x="2220035" y="2118501"/>
            <a:ext cx="3055351" cy="989281"/>
          </a:xfrm>
          <a:prstGeom prst="round2DiagRect">
            <a:avLst>
              <a:gd name="adj1" fmla="val 50000"/>
              <a:gd name="adj2" fmla="val 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grpSp>
        <p:nvGrpSpPr>
          <p:cNvPr id="13" name="Grupo 12">
            <a:extLst>
              <a:ext uri="{FF2B5EF4-FFF2-40B4-BE49-F238E27FC236}">
                <a16:creationId xmlns:a16="http://schemas.microsoft.com/office/drawing/2014/main" id="{3C33E991-ACA8-4C6D-8FF5-44E2D6756BF1}"/>
              </a:ext>
            </a:extLst>
          </p:cNvPr>
          <p:cNvGrpSpPr>
            <a:grpSpLocks/>
          </p:cNvGrpSpPr>
          <p:nvPr/>
        </p:nvGrpSpPr>
        <p:grpSpPr bwMode="auto">
          <a:xfrm>
            <a:off x="5907687" y="2118500"/>
            <a:ext cx="4180209" cy="3526869"/>
            <a:chOff x="684214" y="2060575"/>
            <a:chExt cx="2232025" cy="3455988"/>
          </a:xfrm>
        </p:grpSpPr>
        <p:sp>
          <p:nvSpPr>
            <p:cNvPr id="14" name="Redondear rectángulo de esquina diagonal 1">
              <a:extLst>
                <a:ext uri="{FF2B5EF4-FFF2-40B4-BE49-F238E27FC236}">
                  <a16:creationId xmlns:a16="http://schemas.microsoft.com/office/drawing/2014/main" id="{36375C30-3650-4F78-803E-17C8C5B5725A}"/>
                </a:ext>
              </a:extLst>
            </p:cNvPr>
            <p:cNvSpPr/>
            <p:nvPr/>
          </p:nvSpPr>
          <p:spPr>
            <a:xfrm>
              <a:off x="684214" y="2060575"/>
              <a:ext cx="2232025" cy="3455988"/>
            </a:xfrm>
            <a:prstGeom prst="round2DiagRect">
              <a:avLst>
                <a:gd name="adj1" fmla="val 19895"/>
                <a:gd name="adj2" fmla="val 0"/>
              </a:avLst>
            </a:prstGeom>
            <a:solidFill>
              <a:srgbClr val="F2D39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15" name="Redondear rectángulo de esquina diagonal 5">
              <a:extLst>
                <a:ext uri="{FF2B5EF4-FFF2-40B4-BE49-F238E27FC236}">
                  <a16:creationId xmlns:a16="http://schemas.microsoft.com/office/drawing/2014/main" id="{BFAEEDB6-FD81-4ADC-8041-A69D7D888853}"/>
                </a:ext>
              </a:extLst>
            </p:cNvPr>
            <p:cNvSpPr/>
            <p:nvPr/>
          </p:nvSpPr>
          <p:spPr>
            <a:xfrm>
              <a:off x="684214" y="2060575"/>
              <a:ext cx="2232025" cy="997019"/>
            </a:xfrm>
            <a:prstGeom prst="round2DiagRect">
              <a:avLst>
                <a:gd name="adj1" fmla="val 42065"/>
                <a:gd name="adj2" fmla="val 0"/>
              </a:avLst>
            </a:prstGeom>
            <a:solidFill>
              <a:srgbClr val="E4910A">
                <a:alpha val="6470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grpSp>
      <p:sp>
        <p:nvSpPr>
          <p:cNvPr id="16" name="Redondear rectángulo de esquina diagonal 20">
            <a:extLst>
              <a:ext uri="{FF2B5EF4-FFF2-40B4-BE49-F238E27FC236}">
                <a16:creationId xmlns:a16="http://schemas.microsoft.com/office/drawing/2014/main" id="{C495425B-F0C7-44FB-A5BE-C357DC5D0012}"/>
              </a:ext>
            </a:extLst>
          </p:cNvPr>
          <p:cNvSpPr/>
          <p:nvPr/>
        </p:nvSpPr>
        <p:spPr bwMode="auto">
          <a:xfrm>
            <a:off x="5907688" y="2113738"/>
            <a:ext cx="4180208" cy="989281"/>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dirty="0">
              <a:ln>
                <a:noFill/>
              </a:ln>
              <a:solidFill>
                <a:srgbClr val="FFFFFF"/>
              </a:solidFill>
              <a:effectLst/>
              <a:uLnTx/>
              <a:uFillTx/>
              <a:latin typeface="Roboto Thin"/>
              <a:ea typeface="+mn-ea"/>
              <a:cs typeface="+mn-cs"/>
              <a:sym typeface="Arial" panose="020B0604020202020204" pitchFamily="34" charset="0"/>
            </a:endParaRPr>
          </a:p>
        </p:txBody>
      </p:sp>
      <p:sp>
        <p:nvSpPr>
          <p:cNvPr id="17" name="Rectángulo 16">
            <a:extLst>
              <a:ext uri="{FF2B5EF4-FFF2-40B4-BE49-F238E27FC236}">
                <a16:creationId xmlns:a16="http://schemas.microsoft.com/office/drawing/2014/main" id="{8928D4F3-7221-4592-99F1-8BA53E312ED0}"/>
              </a:ext>
            </a:extLst>
          </p:cNvPr>
          <p:cNvSpPr/>
          <p:nvPr/>
        </p:nvSpPr>
        <p:spPr>
          <a:xfrm>
            <a:off x="2286269" y="3145497"/>
            <a:ext cx="2922880" cy="2031325"/>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Técnicos, tecnólogos y profesionales como: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Ingenieros civil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rqueólogo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Topógrafo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rofesionales sociales y ambiental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Inspectores SISO</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dministrativos, entre otros. </a:t>
            </a:r>
          </a:p>
        </p:txBody>
      </p:sp>
      <p:sp>
        <p:nvSpPr>
          <p:cNvPr id="18" name="Rectángulo 17">
            <a:extLst>
              <a:ext uri="{FF2B5EF4-FFF2-40B4-BE49-F238E27FC236}">
                <a16:creationId xmlns:a16="http://schemas.microsoft.com/office/drawing/2014/main" id="{3D9E9BCB-545E-41D9-A843-B78BA460FF0B}"/>
              </a:ext>
            </a:extLst>
          </p:cNvPr>
          <p:cNvSpPr/>
          <p:nvPr/>
        </p:nvSpPr>
        <p:spPr>
          <a:xfrm>
            <a:off x="2419913" y="2285211"/>
            <a:ext cx="2855473" cy="646331"/>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ano de obra calificada </a:t>
            </a:r>
            <a:endParaRPr kumimoji="0" lang="es-CO"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
        <p:nvSpPr>
          <p:cNvPr id="19" name="Rectángulo 18">
            <a:extLst>
              <a:ext uri="{FF2B5EF4-FFF2-40B4-BE49-F238E27FC236}">
                <a16:creationId xmlns:a16="http://schemas.microsoft.com/office/drawing/2014/main" id="{AFC86F1D-6326-4400-96F5-47CA98CF1562}"/>
              </a:ext>
            </a:extLst>
          </p:cNvPr>
          <p:cNvSpPr/>
          <p:nvPr/>
        </p:nvSpPr>
        <p:spPr>
          <a:xfrm>
            <a:off x="5927188" y="2278557"/>
            <a:ext cx="3844899" cy="646331"/>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CO"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Mano de obra no calificada y </a:t>
            </a:r>
            <a:r>
              <a:rPr kumimoji="0" lang="es-CO" sz="18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semicalificada</a:t>
            </a:r>
            <a:r>
              <a:rPr kumimoji="0" lang="es-CO"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 </a:t>
            </a:r>
            <a:endParaRPr kumimoji="0" lang="es-CO" sz="18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
        <p:nvSpPr>
          <p:cNvPr id="20" name="Rectángulo 19">
            <a:extLst>
              <a:ext uri="{FF2B5EF4-FFF2-40B4-BE49-F238E27FC236}">
                <a16:creationId xmlns:a16="http://schemas.microsoft.com/office/drawing/2014/main" id="{B62356A0-A0C2-4A99-A4A1-51C77DC7FED0}"/>
              </a:ext>
            </a:extLst>
          </p:cNvPr>
          <p:cNvSpPr/>
          <p:nvPr/>
        </p:nvSpPr>
        <p:spPr>
          <a:xfrm>
            <a:off x="5864550" y="3113397"/>
            <a:ext cx="4223347" cy="2246769"/>
          </a:xfrm>
          <a:prstGeom prst="rect">
            <a:avLst/>
          </a:prstGeom>
        </p:spPr>
        <p:txBody>
          <a:bodyPr wrap="square">
            <a:spAutoFit/>
          </a:bodyPr>
          <a:lstStyle/>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Ayudantes de obras y oficiales de construcción,</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Servicios general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Conductores </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Recaudadores de peaj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Paleteros y vigilantes,</a:t>
            </a:r>
          </a:p>
          <a:p>
            <a:pPr marL="285750" marR="0" lvl="0" indent="-2857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s-CO" sz="1400" b="0" i="0" u="none" strike="noStrike" kern="1200" cap="none" spc="0" normalizeH="0" baseline="0" noProof="0" dirty="0">
                <a:ln>
                  <a:noFill/>
                </a:ln>
                <a:solidFill>
                  <a:srgbClr val="073763"/>
                </a:solidFill>
                <a:effectLst/>
                <a:uLnTx/>
                <a:uFillTx/>
                <a:latin typeface="Century Gothic" panose="020B0502020202020204" pitchFamily="34" charset="0"/>
                <a:ea typeface="+mn-ea"/>
                <a:cs typeface="Arial" panose="020B0604020202020204" pitchFamily="34" charset="0"/>
                <a:sym typeface="Arial" panose="020B0604020202020204" pitchFamily="34" charset="0"/>
              </a:rPr>
              <a:t>Operador de maquinaria, cadeneros, operadores de equipo pesado, perforadores, auxiliares de carro – taller, entre otros. </a:t>
            </a:r>
          </a:p>
        </p:txBody>
      </p:sp>
      <p:sp>
        <p:nvSpPr>
          <p:cNvPr id="23" name="Marcador de contenido 1">
            <a:extLst>
              <a:ext uri="{FF2B5EF4-FFF2-40B4-BE49-F238E27FC236}">
                <a16:creationId xmlns:a16="http://schemas.microsoft.com/office/drawing/2014/main" id="{8362CA10-99C3-4D3D-A6FE-03052E45FAB6}"/>
              </a:ext>
            </a:extLst>
          </p:cNvPr>
          <p:cNvSpPr txBox="1">
            <a:spLocks/>
          </p:cNvSpPr>
          <p:nvPr/>
        </p:nvSpPr>
        <p:spPr bwMode="auto">
          <a:xfrm>
            <a:off x="-168812" y="1091818"/>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Q</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UÉ TIPO DE EMPLEOS SE ESTÁN GENERANDO EN LAS CONCESIONES</a:t>
            </a: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a:t>
            </a:r>
            <a:endPar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a:endParaRPr>
          </a:p>
        </p:txBody>
      </p:sp>
      <p:pic>
        <p:nvPicPr>
          <p:cNvPr id="2" name="Imagen 1">
            <a:extLst>
              <a:ext uri="{FF2B5EF4-FFF2-40B4-BE49-F238E27FC236}">
                <a16:creationId xmlns:a16="http://schemas.microsoft.com/office/drawing/2014/main" id="{6AB23C0D-F9C6-4C4D-9461-063831DAA63B}"/>
              </a:ext>
            </a:extLst>
          </p:cNvPr>
          <p:cNvPicPr>
            <a:picLocks noChangeAspect="1"/>
          </p:cNvPicPr>
          <p:nvPr/>
        </p:nvPicPr>
        <p:blipFill rotWithShape="1">
          <a:blip r:embed="rId2"/>
          <a:srcRect t="17353" b="52579"/>
          <a:stretch/>
        </p:blipFill>
        <p:spPr>
          <a:xfrm>
            <a:off x="10068032" y="1443186"/>
            <a:ext cx="2113059" cy="1360156"/>
          </a:xfrm>
          <a:prstGeom prst="flowChartMultidocument">
            <a:avLst/>
          </a:prstGeom>
        </p:spPr>
      </p:pic>
      <p:pic>
        <p:nvPicPr>
          <p:cNvPr id="3" name="Imagen 2">
            <a:extLst>
              <a:ext uri="{FF2B5EF4-FFF2-40B4-BE49-F238E27FC236}">
                <a16:creationId xmlns:a16="http://schemas.microsoft.com/office/drawing/2014/main" id="{0F344216-9288-407B-9F09-0611F2BD1975}"/>
              </a:ext>
            </a:extLst>
          </p:cNvPr>
          <p:cNvPicPr>
            <a:picLocks noChangeAspect="1"/>
          </p:cNvPicPr>
          <p:nvPr/>
        </p:nvPicPr>
        <p:blipFill rotWithShape="1">
          <a:blip r:embed="rId3"/>
          <a:srcRect t="48850" r="73488"/>
          <a:stretch/>
        </p:blipFill>
        <p:spPr>
          <a:xfrm>
            <a:off x="193074" y="5076891"/>
            <a:ext cx="1960724" cy="1301797"/>
          </a:xfrm>
          <a:prstGeom prst="flowChartMultidocument">
            <a:avLst/>
          </a:prstGeom>
        </p:spPr>
      </p:pic>
    </p:spTree>
    <p:extLst>
      <p:ext uri="{BB962C8B-B14F-4D97-AF65-F5344CB8AC3E}">
        <p14:creationId xmlns:p14="http://schemas.microsoft.com/office/powerpoint/2010/main" val="394516729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ángulo redondeado 14">
            <a:extLst>
              <a:ext uri="{FF2B5EF4-FFF2-40B4-BE49-F238E27FC236}">
                <a16:creationId xmlns:a16="http://schemas.microsoft.com/office/drawing/2014/main" id="{499EBEE6-03A6-4209-8375-9640187865CB}"/>
              </a:ext>
            </a:extLst>
          </p:cNvPr>
          <p:cNvSpPr/>
          <p:nvPr/>
        </p:nvSpPr>
        <p:spPr>
          <a:xfrm>
            <a:off x="190759" y="2040117"/>
            <a:ext cx="1463040" cy="1044459"/>
          </a:xfrm>
          <a:prstGeom prst="roundRect">
            <a:avLst>
              <a:gd name="adj" fmla="val 16667"/>
            </a:avLst>
          </a:prstGeom>
          <a:solidFill>
            <a:srgbClr val="89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0" name="Marcador de contenido 1">
            <a:extLst>
              <a:ext uri="{FF2B5EF4-FFF2-40B4-BE49-F238E27FC236}">
                <a16:creationId xmlns:a16="http://schemas.microsoft.com/office/drawing/2014/main" id="{7657B085-264E-4594-B9E5-2C6668BCB58F}"/>
              </a:ext>
            </a:extLst>
          </p:cNvPr>
          <p:cNvSpPr txBox="1">
            <a:spLocks/>
          </p:cNvSpPr>
          <p:nvPr/>
        </p:nvSpPr>
        <p:spPr bwMode="auto">
          <a:xfrm>
            <a:off x="-168812" y="1091818"/>
            <a:ext cx="12191999" cy="68929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177800" indent="-177800" algn="just" rtl="0" eaLnBrk="1" fontAlgn="base" hangingPunct="1">
              <a:spcBef>
                <a:spcPct val="20000"/>
              </a:spcBef>
              <a:spcAft>
                <a:spcPct val="0"/>
              </a:spcAft>
              <a:buFont typeface="Arial" charset="0"/>
              <a:buChar char="•"/>
              <a:defRPr sz="1600" b="1" kern="1200">
                <a:solidFill>
                  <a:schemeClr val="tx1"/>
                </a:solidFill>
                <a:latin typeface="Candara" pitchFamily="34" charset="0"/>
                <a:ea typeface="+mn-ea"/>
                <a:cs typeface="+mn-cs"/>
              </a:defRPr>
            </a:lvl1pPr>
            <a:lvl2pPr marL="6223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2pPr>
            <a:lvl3pPr marL="1079500" indent="-1651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3pPr>
            <a:lvl4pPr marL="1524000" indent="-1524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4pPr>
            <a:lvl5pPr marL="1968500" indent="-139700" algn="just" rtl="0" eaLnBrk="1" fontAlgn="base" hangingPunct="1">
              <a:spcBef>
                <a:spcPct val="20000"/>
              </a:spcBef>
              <a:spcAft>
                <a:spcPct val="0"/>
              </a:spcAft>
              <a:buFont typeface="Arial" charset="0"/>
              <a:buChar char="»"/>
              <a:defRPr sz="1600" kern="1200">
                <a:solidFill>
                  <a:schemeClr val="tx1"/>
                </a:solidFill>
                <a:latin typeface="Candara"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ctr" defTabSz="914377" rtl="0" eaLnBrk="1" fontAlgn="base" latinLnBrk="0" hangingPunct="1">
              <a:lnSpc>
                <a:spcPct val="100000"/>
              </a:lnSpc>
              <a:spcBef>
                <a:spcPct val="20000"/>
              </a:spcBef>
              <a:spcAft>
                <a:spcPct val="0"/>
              </a:spcAft>
              <a:buClrTx/>
              <a:buSzTx/>
              <a:buFont typeface="Arial" charset="0"/>
              <a:buNone/>
              <a:tabLst/>
              <a:defRPr/>
            </a:pPr>
            <a:r>
              <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F</a:t>
            </a:r>
            <a:r>
              <a:rPr kumimoji="0" lang="es-CO" sz="20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panose="020B0604020202020204" pitchFamily="34" charset="0"/>
              </a:rPr>
              <a:t>ORTALECIMIENTO DE INICIATIVAS Y PROYECTOS PRODUCTIVOS</a:t>
            </a:r>
            <a:endParaRPr kumimoji="0" lang="es-CO" sz="2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mn-cs"/>
              <a:sym typeface="Arial"/>
            </a:endParaRPr>
          </a:p>
        </p:txBody>
      </p:sp>
      <p:sp>
        <p:nvSpPr>
          <p:cNvPr id="11" name="Rectángulo redondeado 20">
            <a:extLst>
              <a:ext uri="{FF2B5EF4-FFF2-40B4-BE49-F238E27FC236}">
                <a16:creationId xmlns:a16="http://schemas.microsoft.com/office/drawing/2014/main" id="{E4F4FF60-08C4-4CD3-B4E1-F5BC1DEBE5FB}"/>
              </a:ext>
            </a:extLst>
          </p:cNvPr>
          <p:cNvSpPr/>
          <p:nvPr/>
        </p:nvSpPr>
        <p:spPr>
          <a:xfrm>
            <a:off x="1730269" y="2004577"/>
            <a:ext cx="9430043" cy="1080000"/>
          </a:xfrm>
          <a:prstGeom prst="roundRect">
            <a:avLst>
              <a:gd name="adj" fmla="val 49779"/>
            </a:avLst>
          </a:prstGeom>
          <a:solidFill>
            <a:srgbClr val="89A1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2" name="Rectángulo 11">
            <a:extLst>
              <a:ext uri="{FF2B5EF4-FFF2-40B4-BE49-F238E27FC236}">
                <a16:creationId xmlns:a16="http://schemas.microsoft.com/office/drawing/2014/main" id="{A7BBC634-25CA-4697-B952-003EDECCC699}"/>
              </a:ext>
            </a:extLst>
          </p:cNvPr>
          <p:cNvSpPr/>
          <p:nvPr/>
        </p:nvSpPr>
        <p:spPr>
          <a:xfrm>
            <a:off x="1730270" y="2113370"/>
            <a:ext cx="9256599" cy="862416"/>
          </a:xfrm>
          <a:prstGeom prst="rect">
            <a:avLst/>
          </a:prstGeom>
        </p:spPr>
        <p:txBody>
          <a:bodyPr wrap="square">
            <a:spAutoFit/>
          </a:bodyPr>
          <a:lstStyle/>
          <a:p>
            <a:pPr marL="0" marR="0" lvl="0" indent="0" algn="ctr" defTabSz="914377" rtl="0" eaLnBrk="1" fontAlgn="auto" latinLnBrk="0" hangingPunct="1">
              <a:lnSpc>
                <a:spcPct val="107000"/>
              </a:lnSpc>
              <a:spcBef>
                <a:spcPts val="0"/>
              </a:spcBef>
              <a:spcAft>
                <a:spcPts val="800"/>
              </a:spcAft>
              <a:buClrTx/>
              <a:buSzTx/>
              <a:buFontTx/>
              <a:buNone/>
              <a:tabLst/>
              <a:defRPr/>
            </a:pPr>
            <a:r>
              <a:rPr kumimoji="0" lang="es-ES_tradnl" sz="1600" b="0" i="0" u="none" strike="noStrike" kern="1200" cap="none" spc="0" normalizeH="0" baseline="0" noProof="0" dirty="0">
                <a:ln>
                  <a:noFill/>
                </a:ln>
                <a:solidFill>
                  <a:srgbClr val="FFFFFF"/>
                </a:solidFill>
                <a:effectLst/>
                <a:uLnTx/>
                <a:uFillTx/>
                <a:latin typeface="Century Gothic" panose="020B0502020202020204" pitchFamily="34" charset="0"/>
                <a:ea typeface="Calibri" panose="020F0502020204030204" pitchFamily="34" charset="0"/>
                <a:cs typeface="Times New Roman" panose="02020603050405020304" pitchFamily="18" charset="0"/>
                <a:sym typeface="Arial" panose="020B0604020202020204" pitchFamily="34" charset="0"/>
              </a:rPr>
              <a:t>Generan desarrollo, prosperidad y mejoramiento de las condiciones económicas para las comunidades étnicas y no étnicas del área de influencia donde se realizan las obras de infraestructura que conectan al país.</a:t>
            </a:r>
            <a:endPar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Calibri" panose="020F0502020204030204" pitchFamily="34" charset="0"/>
              <a:cs typeface="Arial" panose="020B0604020202020204" pitchFamily="34" charset="0"/>
              <a:sym typeface="Arial" panose="020B0604020202020204" pitchFamily="34" charset="0"/>
            </a:endParaRPr>
          </a:p>
        </p:txBody>
      </p:sp>
      <p:sp>
        <p:nvSpPr>
          <p:cNvPr id="13" name="Rectángulo redondeado 20">
            <a:extLst>
              <a:ext uri="{FF2B5EF4-FFF2-40B4-BE49-F238E27FC236}">
                <a16:creationId xmlns:a16="http://schemas.microsoft.com/office/drawing/2014/main" id="{F0FFAE3F-AD45-42C0-93D8-A14015C6CFF4}"/>
              </a:ext>
            </a:extLst>
          </p:cNvPr>
          <p:cNvSpPr/>
          <p:nvPr/>
        </p:nvSpPr>
        <p:spPr>
          <a:xfrm>
            <a:off x="1730267" y="3773424"/>
            <a:ext cx="9430044" cy="1080000"/>
          </a:xfrm>
          <a:prstGeom prst="roundRect">
            <a:avLst>
              <a:gd name="adj" fmla="val 49779"/>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4" name="Rectángulo 13">
            <a:extLst>
              <a:ext uri="{FF2B5EF4-FFF2-40B4-BE49-F238E27FC236}">
                <a16:creationId xmlns:a16="http://schemas.microsoft.com/office/drawing/2014/main" id="{6ED424E6-9F42-40AB-931A-B52C46D2437F}"/>
              </a:ext>
            </a:extLst>
          </p:cNvPr>
          <p:cNvSpPr/>
          <p:nvPr/>
        </p:nvSpPr>
        <p:spPr>
          <a:xfrm>
            <a:off x="1730267" y="3878819"/>
            <a:ext cx="9430044" cy="862416"/>
          </a:xfrm>
          <a:prstGeom prst="rect">
            <a:avLst/>
          </a:prstGeom>
        </p:spPr>
        <p:txBody>
          <a:bodyPr wrap="square">
            <a:spAutoFit/>
          </a:bodyPr>
          <a:lstStyle/>
          <a:p>
            <a:pPr marL="0" marR="0" lvl="0" indent="0" algn="ctr" defTabSz="914377" rtl="0" eaLnBrk="1" fontAlgn="auto" latinLnBrk="0" hangingPunct="1">
              <a:lnSpc>
                <a:spcPct val="107000"/>
              </a:lnSpc>
              <a:spcBef>
                <a:spcPts val="0"/>
              </a:spcBef>
              <a:spcAft>
                <a:spcPts val="800"/>
              </a:spcAft>
              <a:buClrTx/>
              <a:buSzTx/>
              <a:buFontTx/>
              <a:buNone/>
              <a:tabLst/>
              <a:defRPr/>
            </a:pPr>
            <a:r>
              <a:rPr kumimoji="0" lang="es-ES_tradnl"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Articulación interinstitucional con entidades como el SENA, las Alcaldías Municipales, las Corporaciones Autónomas Regionales y empresas privadas interesadas en la capacitación de la población en procesos de emprendimiento y desarrollo social.   </a:t>
            </a:r>
            <a:endParaRPr kumimoji="0" lang="es-CO" sz="16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endParaRPr>
          </a:p>
        </p:txBody>
      </p:sp>
      <p:sp>
        <p:nvSpPr>
          <p:cNvPr id="15" name="Rectángulo redondeado 9">
            <a:extLst>
              <a:ext uri="{FF2B5EF4-FFF2-40B4-BE49-F238E27FC236}">
                <a16:creationId xmlns:a16="http://schemas.microsoft.com/office/drawing/2014/main" id="{42C12491-AB57-467A-9882-3E3FAD23B646}"/>
              </a:ext>
            </a:extLst>
          </p:cNvPr>
          <p:cNvSpPr/>
          <p:nvPr/>
        </p:nvSpPr>
        <p:spPr>
          <a:xfrm>
            <a:off x="599685" y="3857259"/>
            <a:ext cx="864000" cy="864096"/>
          </a:xfrm>
          <a:prstGeom prst="roundRect">
            <a:avLst>
              <a:gd name="adj" fmla="val 16667"/>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6" name="Freeform 293">
            <a:extLst>
              <a:ext uri="{FF2B5EF4-FFF2-40B4-BE49-F238E27FC236}">
                <a16:creationId xmlns:a16="http://schemas.microsoft.com/office/drawing/2014/main" id="{717BBCB2-8947-4D44-894A-16F311E6C5AD}"/>
              </a:ext>
            </a:extLst>
          </p:cNvPr>
          <p:cNvSpPr/>
          <p:nvPr/>
        </p:nvSpPr>
        <p:spPr>
          <a:xfrm>
            <a:off x="834041" y="4081843"/>
            <a:ext cx="395288" cy="396875"/>
          </a:xfrm>
          <a:custGeom>
            <a:avLst/>
            <a:gdLst/>
            <a:ahLst/>
            <a:cxnLst/>
            <a:rect l="l" t="t" r="r" b="b"/>
            <a:pathLst>
              <a:path w="436652" h="334672">
                <a:moveTo>
                  <a:pt x="371295" y="0"/>
                </a:moveTo>
                <a:cubicBezTo>
                  <a:pt x="378807" y="0"/>
                  <a:pt x="385192" y="2630"/>
                  <a:pt x="390451" y="7888"/>
                </a:cubicBezTo>
                <a:lnTo>
                  <a:pt x="428764" y="46201"/>
                </a:lnTo>
                <a:cubicBezTo>
                  <a:pt x="434022" y="51459"/>
                  <a:pt x="436652" y="57845"/>
                  <a:pt x="436652" y="65357"/>
                </a:cubicBezTo>
                <a:cubicBezTo>
                  <a:pt x="436652" y="72869"/>
                  <a:pt x="434022" y="79255"/>
                  <a:pt x="428764" y="84513"/>
                </a:cubicBezTo>
                <a:lnTo>
                  <a:pt x="224806" y="288472"/>
                </a:lnTo>
                <a:lnTo>
                  <a:pt x="186494" y="326784"/>
                </a:lnTo>
                <a:cubicBezTo>
                  <a:pt x="181234" y="332043"/>
                  <a:pt x="174848" y="334672"/>
                  <a:pt x="167337" y="334672"/>
                </a:cubicBezTo>
                <a:cubicBezTo>
                  <a:pt x="159824" y="334672"/>
                  <a:pt x="153439" y="332043"/>
                  <a:pt x="148180" y="326784"/>
                </a:cubicBezTo>
                <a:lnTo>
                  <a:pt x="109868" y="288472"/>
                </a:lnTo>
                <a:lnTo>
                  <a:pt x="7888" y="186492"/>
                </a:lnTo>
                <a:cubicBezTo>
                  <a:pt x="2630" y="181234"/>
                  <a:pt x="0" y="174849"/>
                  <a:pt x="0" y="167336"/>
                </a:cubicBezTo>
                <a:cubicBezTo>
                  <a:pt x="0" y="159824"/>
                  <a:pt x="2630" y="153439"/>
                  <a:pt x="7888" y="148180"/>
                </a:cubicBezTo>
                <a:lnTo>
                  <a:pt x="46202" y="109867"/>
                </a:lnTo>
                <a:cubicBezTo>
                  <a:pt x="51460" y="104609"/>
                  <a:pt x="57845" y="101979"/>
                  <a:pt x="65358" y="101979"/>
                </a:cubicBezTo>
                <a:cubicBezTo>
                  <a:pt x="72870" y="101979"/>
                  <a:pt x="79255" y="104609"/>
                  <a:pt x="84514" y="109867"/>
                </a:cubicBezTo>
                <a:lnTo>
                  <a:pt x="167337" y="192972"/>
                </a:lnTo>
                <a:lnTo>
                  <a:pt x="352139" y="7888"/>
                </a:lnTo>
                <a:cubicBezTo>
                  <a:pt x="357397" y="2630"/>
                  <a:pt x="363783" y="0"/>
                  <a:pt x="371295"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713214" rtl="0" eaLnBrk="1" fontAlgn="auto" latinLnBrk="0" hangingPunct="1">
              <a:lnSpc>
                <a:spcPct val="100000"/>
              </a:lnSpc>
              <a:spcBef>
                <a:spcPts val="0"/>
              </a:spcBef>
              <a:spcAft>
                <a:spcPts val="0"/>
              </a:spcAft>
              <a:buClrTx/>
              <a:buSzTx/>
              <a:buFontTx/>
              <a:buNone/>
              <a:tabLst/>
              <a:defRPr/>
            </a:pPr>
            <a:endParaRPr kumimoji="0" lang="en-US" sz="1013" b="0" i="0" u="none" strike="noStrike" kern="1200" cap="none" spc="0" normalizeH="0" baseline="0" noProof="0">
              <a:ln>
                <a:noFill/>
              </a:ln>
              <a:solidFill>
                <a:srgbClr val="FFFFFF"/>
              </a:solidFill>
              <a:effectLst/>
              <a:uLnTx/>
              <a:uFillTx/>
              <a:latin typeface="Arial"/>
              <a:ea typeface="+mn-ea"/>
              <a:cs typeface="+mn-cs"/>
              <a:sym typeface="Arial" panose="020B0604020202020204" pitchFamily="34" charset="0"/>
            </a:endParaRPr>
          </a:p>
        </p:txBody>
      </p:sp>
      <p:sp>
        <p:nvSpPr>
          <p:cNvPr id="17" name="Rectángulo 16">
            <a:extLst>
              <a:ext uri="{FF2B5EF4-FFF2-40B4-BE49-F238E27FC236}">
                <a16:creationId xmlns:a16="http://schemas.microsoft.com/office/drawing/2014/main" id="{70C23503-1C37-4BBF-9329-3EF93BD04DF7}"/>
              </a:ext>
            </a:extLst>
          </p:cNvPr>
          <p:cNvSpPr/>
          <p:nvPr/>
        </p:nvSpPr>
        <p:spPr>
          <a:xfrm>
            <a:off x="622759" y="4718297"/>
            <a:ext cx="670376" cy="307777"/>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s-ES_tradnl" sz="1400" b="1" i="0" u="none" strike="noStrike" kern="1200" cap="none" spc="0" normalizeH="0" baseline="0" noProof="0" dirty="0">
                <a:ln>
                  <a:noFill/>
                </a:ln>
                <a:solidFill>
                  <a:srgbClr val="073763"/>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Logro</a:t>
            </a:r>
            <a:endParaRPr kumimoji="0" lang="es-CO" sz="1400" b="1" i="0" u="none" strike="noStrike" kern="1200" cap="none" spc="0" normalizeH="0" baseline="0" noProof="0" dirty="0">
              <a:ln>
                <a:noFill/>
              </a:ln>
              <a:solidFill>
                <a:srgbClr val="073763"/>
              </a:solidFill>
              <a:effectLst/>
              <a:uLnTx/>
              <a:uFillTx/>
              <a:latin typeface="Arial"/>
              <a:ea typeface="+mn-ea"/>
              <a:cs typeface="Arial" panose="020B0604020202020204" pitchFamily="34" charset="0"/>
              <a:sym typeface="Arial" panose="020B0604020202020204" pitchFamily="34" charset="0"/>
            </a:endParaRPr>
          </a:p>
        </p:txBody>
      </p:sp>
      <p:sp>
        <p:nvSpPr>
          <p:cNvPr id="18" name="Rectángulo 17">
            <a:extLst>
              <a:ext uri="{FF2B5EF4-FFF2-40B4-BE49-F238E27FC236}">
                <a16:creationId xmlns:a16="http://schemas.microsoft.com/office/drawing/2014/main" id="{6EA9C4E7-C622-441A-BD68-CFBB3F55428F}"/>
              </a:ext>
            </a:extLst>
          </p:cNvPr>
          <p:cNvSpPr/>
          <p:nvPr/>
        </p:nvSpPr>
        <p:spPr>
          <a:xfrm>
            <a:off x="190759" y="2020688"/>
            <a:ext cx="1463040" cy="1015663"/>
          </a:xfrm>
          <a:prstGeom prst="rect">
            <a:avLst/>
          </a:prstGeom>
        </p:spPr>
        <p:txBody>
          <a:bodyPr wrap="squar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s-ES_tradnl" sz="18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193</a:t>
            </a:r>
            <a:r>
              <a:rPr kumimoji="0" lang="es-ES_tradnl" sz="1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Times New Roman" panose="02020603050405020304" pitchFamily="18" charset="0"/>
                <a:sym typeface="Arial" panose="020B0604020202020204" pitchFamily="34" charset="0"/>
              </a:rPr>
              <a:t> Iniciativas y proyectos productivos</a:t>
            </a:r>
            <a:endParaRPr kumimoji="0" lang="es-CO" sz="1400" b="1" i="0" u="none" strike="noStrike" kern="1200" cap="none" spc="0" normalizeH="0" baseline="0" noProof="0" dirty="0">
              <a:ln>
                <a:noFill/>
              </a:ln>
              <a:solidFill>
                <a:srgbClr val="FFFFFF"/>
              </a:solidFill>
              <a:effectLst/>
              <a:uLnTx/>
              <a:uFillTx/>
              <a:latin typeface="Arial"/>
              <a:ea typeface="+mn-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9723915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upo 4">
            <a:extLst>
              <a:ext uri="{FF2B5EF4-FFF2-40B4-BE49-F238E27FC236}">
                <a16:creationId xmlns:a16="http://schemas.microsoft.com/office/drawing/2014/main" id="{B48B6A5B-8551-4332-B884-2643EBA9BE4A}"/>
              </a:ext>
            </a:extLst>
          </p:cNvPr>
          <p:cNvGrpSpPr/>
          <p:nvPr/>
        </p:nvGrpSpPr>
        <p:grpSpPr>
          <a:xfrm>
            <a:off x="4591288" y="3225860"/>
            <a:ext cx="3046355" cy="2588955"/>
            <a:chOff x="334963" y="1838325"/>
            <a:chExt cx="2484437" cy="2833472"/>
          </a:xfrm>
        </p:grpSpPr>
        <p:grpSp>
          <p:nvGrpSpPr>
            <p:cNvPr id="6" name="Grupo 12">
              <a:extLst>
                <a:ext uri="{FF2B5EF4-FFF2-40B4-BE49-F238E27FC236}">
                  <a16:creationId xmlns:a16="http://schemas.microsoft.com/office/drawing/2014/main" id="{D96DCE74-5D17-4B09-9836-19B6981A45B3}"/>
                </a:ext>
              </a:extLst>
            </p:cNvPr>
            <p:cNvGrpSpPr>
              <a:grpSpLocks/>
            </p:cNvGrpSpPr>
            <p:nvPr/>
          </p:nvGrpSpPr>
          <p:grpSpPr bwMode="auto">
            <a:xfrm>
              <a:off x="334963" y="1843088"/>
              <a:ext cx="2484437" cy="2828709"/>
              <a:chOff x="684214" y="2060575"/>
              <a:chExt cx="2232025" cy="2301233"/>
            </a:xfrm>
          </p:grpSpPr>
          <p:sp>
            <p:nvSpPr>
              <p:cNvPr id="8" name="Redondear rectángulo de esquina diagonal 1">
                <a:extLst>
                  <a:ext uri="{FF2B5EF4-FFF2-40B4-BE49-F238E27FC236}">
                    <a16:creationId xmlns:a16="http://schemas.microsoft.com/office/drawing/2014/main" id="{627E2843-2EEE-4384-9E61-498212ECA308}"/>
                  </a:ext>
                </a:extLst>
              </p:cNvPr>
              <p:cNvSpPr/>
              <p:nvPr/>
            </p:nvSpPr>
            <p:spPr>
              <a:xfrm>
                <a:off x="684214" y="2060575"/>
                <a:ext cx="2232025" cy="2301233"/>
              </a:xfrm>
              <a:prstGeom prst="round2DiagRect">
                <a:avLst>
                  <a:gd name="adj1" fmla="val 19895"/>
                  <a:gd name="adj2" fmla="val 0"/>
                </a:avLst>
              </a:prstGeom>
              <a:solidFill>
                <a:srgbClr val="C4F6C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9" name="Redondear rectángulo de esquina diagonal 5">
                <a:extLst>
                  <a:ext uri="{FF2B5EF4-FFF2-40B4-BE49-F238E27FC236}">
                    <a16:creationId xmlns:a16="http://schemas.microsoft.com/office/drawing/2014/main" id="{695F4512-CCE2-44D2-B314-7F9092A4A54D}"/>
                  </a:ext>
                </a:extLst>
              </p:cNvPr>
              <p:cNvSpPr/>
              <p:nvPr/>
            </p:nvSpPr>
            <p:spPr>
              <a:xfrm>
                <a:off x="684214" y="2060575"/>
                <a:ext cx="2232025" cy="997019"/>
              </a:xfrm>
              <a:prstGeom prst="round2DiagRect">
                <a:avLst>
                  <a:gd name="adj1" fmla="val 42065"/>
                  <a:gd name="adj2" fmla="val 0"/>
                </a:avLst>
              </a:prstGeom>
              <a:solidFill>
                <a:srgbClr val="8EE27A"/>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7" name="Redondear rectángulo de esquina diagonal 20">
              <a:extLst>
                <a:ext uri="{FF2B5EF4-FFF2-40B4-BE49-F238E27FC236}">
                  <a16:creationId xmlns:a16="http://schemas.microsoft.com/office/drawing/2014/main" id="{19DCCE58-276D-45D3-AEC8-017AEF41B449}"/>
                </a:ext>
              </a:extLst>
            </p:cNvPr>
            <p:cNvSpPr/>
            <p:nvPr/>
          </p:nvSpPr>
          <p:spPr bwMode="auto">
            <a:xfrm>
              <a:off x="334963" y="1838325"/>
              <a:ext cx="2484437" cy="612775"/>
            </a:xfrm>
            <a:prstGeom prst="round2DiagRect">
              <a:avLst>
                <a:gd name="adj1" fmla="val 50000"/>
                <a:gd name="adj2" fmla="val 0"/>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0" name="Google Shape;438;p68">
            <a:extLst>
              <a:ext uri="{FF2B5EF4-FFF2-40B4-BE49-F238E27FC236}">
                <a16:creationId xmlns:a16="http://schemas.microsoft.com/office/drawing/2014/main" id="{2CE16EC8-D2DF-4646-BFC6-D445F80F6F96}"/>
              </a:ext>
            </a:extLst>
          </p:cNvPr>
          <p:cNvSpPr txBox="1"/>
          <p:nvPr/>
        </p:nvSpPr>
        <p:spPr>
          <a:xfrm>
            <a:off x="4534477" y="4394983"/>
            <a:ext cx="3159976"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400" b="1" kern="0" dirty="0">
                <a:solidFill>
                  <a:srgbClr val="000000"/>
                </a:solidFill>
                <a:latin typeface="Century Gothic" panose="020B0502020202020204" pitchFamily="34" charset="0"/>
                <a:cs typeface="Arial"/>
                <a:sym typeface="Arial"/>
              </a:rPr>
              <a:t>Meta 3.6</a:t>
            </a:r>
          </a:p>
          <a:p>
            <a:pPr algn="ctr" defTabSz="1219170">
              <a:buClr>
                <a:srgbClr val="000000"/>
              </a:buClr>
            </a:pPr>
            <a:r>
              <a:rPr lang="es-MX" sz="1300" kern="0" dirty="0">
                <a:solidFill>
                  <a:srgbClr val="000000"/>
                </a:solidFill>
                <a:latin typeface="Century Gothic" panose="020B0502020202020204" pitchFamily="34" charset="0"/>
                <a:cs typeface="Arial"/>
                <a:sym typeface="Arial"/>
              </a:rPr>
              <a:t>Reducir a la mitad el número de muertes y lesiones causadas por accidentes de tráfico en el mundo.</a:t>
            </a:r>
            <a:endParaRPr lang="es-MX" sz="1300" kern="0" dirty="0">
              <a:solidFill>
                <a:srgbClr val="000000"/>
              </a:solidFill>
              <a:latin typeface="Century Gothic" panose="020B0502020202020204" pitchFamily="34" charset="0"/>
              <a:cs typeface="Arial"/>
              <a:sym typeface="Economica"/>
            </a:endParaRPr>
          </a:p>
        </p:txBody>
      </p:sp>
      <p:pic>
        <p:nvPicPr>
          <p:cNvPr id="11" name="Picture 14" descr="Imagen relacionada">
            <a:extLst>
              <a:ext uri="{FF2B5EF4-FFF2-40B4-BE49-F238E27FC236}">
                <a16:creationId xmlns:a16="http://schemas.microsoft.com/office/drawing/2014/main" id="{340206D9-2169-4830-9D13-9B4674D2282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928" t="2592" r="7543" b="15746"/>
          <a:stretch/>
        </p:blipFill>
        <p:spPr bwMode="auto">
          <a:xfrm>
            <a:off x="4245608" y="2727706"/>
            <a:ext cx="871111" cy="803532"/>
          </a:xfrm>
          <a:prstGeom prst="ellipse">
            <a:avLst/>
          </a:prstGeom>
          <a:noFill/>
          <a:extLst>
            <a:ext uri="{909E8E84-426E-40DD-AFC4-6F175D3DCCD1}">
              <a14:hiddenFill xmlns:a14="http://schemas.microsoft.com/office/drawing/2010/main">
                <a:solidFill>
                  <a:srgbClr val="FFFFFF"/>
                </a:solidFill>
              </a14:hiddenFill>
            </a:ext>
          </a:extLst>
        </p:spPr>
      </p:pic>
      <p:sp>
        <p:nvSpPr>
          <p:cNvPr id="12" name="Rectángulo 11">
            <a:extLst>
              <a:ext uri="{FF2B5EF4-FFF2-40B4-BE49-F238E27FC236}">
                <a16:creationId xmlns:a16="http://schemas.microsoft.com/office/drawing/2014/main" id="{CDDA9BF1-462D-4B63-9A5B-29E57C5C2B10}"/>
              </a:ext>
            </a:extLst>
          </p:cNvPr>
          <p:cNvSpPr/>
          <p:nvPr/>
        </p:nvSpPr>
        <p:spPr>
          <a:xfrm>
            <a:off x="1" y="1793053"/>
            <a:ext cx="12192000" cy="568682"/>
          </a:xfrm>
          <a:prstGeom prst="rect">
            <a:avLst/>
          </a:prstGeom>
          <a:solidFill>
            <a:schemeClr val="tx1"/>
          </a:solidFill>
        </p:spPr>
        <p:txBody>
          <a:bodyPr wrap="square">
            <a:spAutoFit/>
          </a:bodyPr>
          <a:lstStyle/>
          <a:p>
            <a:pPr algn="ctr" defTabSz="1219170">
              <a:lnSpc>
                <a:spcPct val="110000"/>
              </a:lnSpc>
              <a:buClr>
                <a:srgbClr val="000000"/>
              </a:buClr>
            </a:pPr>
            <a:r>
              <a:rPr lang="es-CO" sz="1467" kern="0" dirty="0">
                <a:solidFill>
                  <a:schemeClr val="bg1"/>
                </a:solidFill>
                <a:latin typeface="Century Gothic" panose="020B0502020202020204" pitchFamily="34" charset="0"/>
                <a:cs typeface="Arial"/>
                <a:sym typeface="Arial"/>
              </a:rPr>
              <a:t>La ANI promueve el derecho a la vida a través de acciones pedagógicas y lúdicas que contribuyan al uso adecuado de la infraestructura  para la prevención de accidentes</a:t>
            </a:r>
          </a:p>
        </p:txBody>
      </p:sp>
      <p:grpSp>
        <p:nvGrpSpPr>
          <p:cNvPr id="13" name="Grupo 12">
            <a:extLst>
              <a:ext uri="{FF2B5EF4-FFF2-40B4-BE49-F238E27FC236}">
                <a16:creationId xmlns:a16="http://schemas.microsoft.com/office/drawing/2014/main" id="{4E4891A3-6E8A-4D09-A6FC-00459ABB7C5C}"/>
              </a:ext>
            </a:extLst>
          </p:cNvPr>
          <p:cNvGrpSpPr/>
          <p:nvPr/>
        </p:nvGrpSpPr>
        <p:grpSpPr>
          <a:xfrm>
            <a:off x="1005904" y="3251290"/>
            <a:ext cx="3046355" cy="2563525"/>
            <a:chOff x="334963" y="1838325"/>
            <a:chExt cx="2484437" cy="2805640"/>
          </a:xfrm>
        </p:grpSpPr>
        <p:grpSp>
          <p:nvGrpSpPr>
            <p:cNvPr id="14" name="Grupo 12">
              <a:extLst>
                <a:ext uri="{FF2B5EF4-FFF2-40B4-BE49-F238E27FC236}">
                  <a16:creationId xmlns:a16="http://schemas.microsoft.com/office/drawing/2014/main" id="{8FD26D9A-0D29-4A27-938B-F085539A47E6}"/>
                </a:ext>
              </a:extLst>
            </p:cNvPr>
            <p:cNvGrpSpPr>
              <a:grpSpLocks/>
            </p:cNvGrpSpPr>
            <p:nvPr/>
          </p:nvGrpSpPr>
          <p:grpSpPr bwMode="auto">
            <a:xfrm>
              <a:off x="334963" y="1843088"/>
              <a:ext cx="2484437" cy="2800877"/>
              <a:chOff x="684214" y="2060575"/>
              <a:chExt cx="2232025" cy="2278591"/>
            </a:xfrm>
          </p:grpSpPr>
          <p:sp>
            <p:nvSpPr>
              <p:cNvPr id="16" name="Redondear rectángulo de esquina diagonal 1">
                <a:extLst>
                  <a:ext uri="{FF2B5EF4-FFF2-40B4-BE49-F238E27FC236}">
                    <a16:creationId xmlns:a16="http://schemas.microsoft.com/office/drawing/2014/main" id="{3E2055BE-A537-48EB-B0C4-18E75D1CD988}"/>
                  </a:ext>
                </a:extLst>
              </p:cNvPr>
              <p:cNvSpPr/>
              <p:nvPr/>
            </p:nvSpPr>
            <p:spPr>
              <a:xfrm>
                <a:off x="684214" y="2060575"/>
                <a:ext cx="2232025" cy="2278591"/>
              </a:xfrm>
              <a:prstGeom prst="round2DiagRect">
                <a:avLst>
                  <a:gd name="adj1" fmla="val 19895"/>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17" name="Redondear rectángulo de esquina diagonal 5">
                <a:extLst>
                  <a:ext uri="{FF2B5EF4-FFF2-40B4-BE49-F238E27FC236}">
                    <a16:creationId xmlns:a16="http://schemas.microsoft.com/office/drawing/2014/main" id="{E6E0B607-D5B9-43AD-8C17-72532B362B71}"/>
                  </a:ext>
                </a:extLst>
              </p:cNvPr>
              <p:cNvSpPr/>
              <p:nvPr/>
            </p:nvSpPr>
            <p:spPr>
              <a:xfrm>
                <a:off x="684214" y="2060575"/>
                <a:ext cx="2232025" cy="997019"/>
              </a:xfrm>
              <a:prstGeom prst="round2DiagRect">
                <a:avLst>
                  <a:gd name="adj1" fmla="val 42065"/>
                  <a:gd name="adj2" fmla="val 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5" name="Redondear rectángulo de esquina diagonal 20">
              <a:extLst>
                <a:ext uri="{FF2B5EF4-FFF2-40B4-BE49-F238E27FC236}">
                  <a16:creationId xmlns:a16="http://schemas.microsoft.com/office/drawing/2014/main" id="{7FE31DA1-D2F9-42BB-BD8C-B9797766BE6B}"/>
                </a:ext>
              </a:extLst>
            </p:cNvPr>
            <p:cNvSpPr/>
            <p:nvPr/>
          </p:nvSpPr>
          <p:spPr bwMode="auto">
            <a:xfrm>
              <a:off x="334963" y="1838325"/>
              <a:ext cx="2484437" cy="612775"/>
            </a:xfrm>
            <a:prstGeom prst="round2DiagRect">
              <a:avLst>
                <a:gd name="adj1" fmla="val 50000"/>
                <a:gd name="adj2" fmla="val 0"/>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18" name="Rectángulo 17">
            <a:extLst>
              <a:ext uri="{FF2B5EF4-FFF2-40B4-BE49-F238E27FC236}">
                <a16:creationId xmlns:a16="http://schemas.microsoft.com/office/drawing/2014/main" id="{670FD2CD-A440-4D81-9953-19930855D142}"/>
              </a:ext>
            </a:extLst>
          </p:cNvPr>
          <p:cNvSpPr/>
          <p:nvPr/>
        </p:nvSpPr>
        <p:spPr>
          <a:xfrm>
            <a:off x="1447735" y="3327782"/>
            <a:ext cx="2221121" cy="318100"/>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cs typeface="Arial"/>
                <a:sym typeface="Economica"/>
              </a:rPr>
              <a:t>DERECHOS HUMANOS</a:t>
            </a:r>
          </a:p>
        </p:txBody>
      </p:sp>
      <p:sp>
        <p:nvSpPr>
          <p:cNvPr id="19" name="Rectángulo 18">
            <a:extLst>
              <a:ext uri="{FF2B5EF4-FFF2-40B4-BE49-F238E27FC236}">
                <a16:creationId xmlns:a16="http://schemas.microsoft.com/office/drawing/2014/main" id="{C139FB1B-1AA3-488E-8F66-967A31190157}"/>
              </a:ext>
            </a:extLst>
          </p:cNvPr>
          <p:cNvSpPr/>
          <p:nvPr/>
        </p:nvSpPr>
        <p:spPr>
          <a:xfrm>
            <a:off x="1080895" y="3858088"/>
            <a:ext cx="2896371" cy="1046440"/>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ARTÍCULO 3</a:t>
            </a:r>
          </a:p>
          <a:p>
            <a:pPr algn="ctr" defTabSz="1219170">
              <a:buClr>
                <a:srgbClr val="000000"/>
              </a:buClr>
            </a:pPr>
            <a:endParaRPr lang="es-CO" sz="2133" b="1" kern="0" dirty="0">
              <a:solidFill>
                <a:srgbClr val="000000"/>
              </a:solidFill>
              <a:latin typeface="Century Gothic" panose="020B0502020202020204" pitchFamily="34" charset="0"/>
              <a:cs typeface="Arial"/>
              <a:sym typeface="Arial"/>
            </a:endParaRPr>
          </a:p>
          <a:p>
            <a:pPr algn="ctr" defTabSz="1219170">
              <a:buClr>
                <a:srgbClr val="000000"/>
              </a:buClr>
            </a:pPr>
            <a:r>
              <a:rPr lang="es-CO" sz="1300" kern="0" dirty="0">
                <a:solidFill>
                  <a:srgbClr val="000000"/>
                </a:solidFill>
                <a:latin typeface="Century Gothic" panose="020B0502020202020204" pitchFamily="34" charset="0"/>
                <a:cs typeface="Arial"/>
                <a:sym typeface="Arial"/>
              </a:rPr>
              <a:t>Todo individuo tiene derecho a la vida, a la libertad y a la seguridad de su persona.</a:t>
            </a:r>
          </a:p>
        </p:txBody>
      </p:sp>
      <p:pic>
        <p:nvPicPr>
          <p:cNvPr id="20" name="Imagen 19">
            <a:extLst>
              <a:ext uri="{FF2B5EF4-FFF2-40B4-BE49-F238E27FC236}">
                <a16:creationId xmlns:a16="http://schemas.microsoft.com/office/drawing/2014/main" id="{D07818C7-BC0C-42CF-9B45-C47EFBE545F9}"/>
              </a:ext>
            </a:extLst>
          </p:cNvPr>
          <p:cNvPicPr>
            <a:picLocks noChangeAspect="1"/>
          </p:cNvPicPr>
          <p:nvPr/>
        </p:nvPicPr>
        <p:blipFill>
          <a:blip r:embed="rId3"/>
          <a:stretch>
            <a:fillRect/>
          </a:stretch>
        </p:blipFill>
        <p:spPr>
          <a:xfrm>
            <a:off x="587031" y="2755393"/>
            <a:ext cx="862367" cy="781739"/>
          </a:xfrm>
          <a:prstGeom prst="ellipse">
            <a:avLst/>
          </a:prstGeom>
        </p:spPr>
      </p:pic>
      <p:sp>
        <p:nvSpPr>
          <p:cNvPr id="21" name="Rectángulo 20">
            <a:extLst>
              <a:ext uri="{FF2B5EF4-FFF2-40B4-BE49-F238E27FC236}">
                <a16:creationId xmlns:a16="http://schemas.microsoft.com/office/drawing/2014/main" id="{9484B9F4-F8A3-41F7-9852-253CD6676089}"/>
              </a:ext>
            </a:extLst>
          </p:cNvPr>
          <p:cNvSpPr/>
          <p:nvPr/>
        </p:nvSpPr>
        <p:spPr>
          <a:xfrm>
            <a:off x="4935364" y="3213576"/>
            <a:ext cx="2589349" cy="543867"/>
          </a:xfrm>
          <a:prstGeom prst="rect">
            <a:avLst/>
          </a:prstGeom>
        </p:spPr>
        <p:txBody>
          <a:bodyPr wrap="square">
            <a:spAutoFit/>
          </a:bodyPr>
          <a:lstStyle/>
          <a:p>
            <a:pPr algn="ctr" defTabSz="1219170">
              <a:buClr>
                <a:srgbClr val="000000"/>
              </a:buClr>
            </a:pPr>
            <a:r>
              <a:rPr lang="es-CO" sz="1467" b="1" kern="0" dirty="0">
                <a:solidFill>
                  <a:srgbClr val="FFFFFF"/>
                </a:solidFill>
                <a:latin typeface="Century Gothic" panose="020B0502020202020204" pitchFamily="34" charset="0"/>
                <a:ea typeface="Economica"/>
                <a:cs typeface="Economica"/>
                <a:sym typeface="Economica"/>
              </a:rPr>
              <a:t>OBJETIVOS DE DESARROLLO SOSTENIBLE</a:t>
            </a:r>
          </a:p>
        </p:txBody>
      </p:sp>
      <p:sp>
        <p:nvSpPr>
          <p:cNvPr id="22" name="Rectángulo 21">
            <a:extLst>
              <a:ext uri="{FF2B5EF4-FFF2-40B4-BE49-F238E27FC236}">
                <a16:creationId xmlns:a16="http://schemas.microsoft.com/office/drawing/2014/main" id="{3A2F4267-29CA-4B00-8D20-D344413EA4F0}"/>
              </a:ext>
            </a:extLst>
          </p:cNvPr>
          <p:cNvSpPr/>
          <p:nvPr/>
        </p:nvSpPr>
        <p:spPr>
          <a:xfrm>
            <a:off x="5036285" y="3887880"/>
            <a:ext cx="2156360" cy="323165"/>
          </a:xfrm>
          <a:prstGeom prst="rect">
            <a:avLst/>
          </a:prstGeom>
        </p:spPr>
        <p:txBody>
          <a:bodyPr wrap="none">
            <a:spAutoFit/>
          </a:bodyPr>
          <a:lstStyle/>
          <a:p>
            <a:pPr algn="ctr" defTabSz="1219170">
              <a:buClr>
                <a:srgbClr val="000000"/>
              </a:buClr>
            </a:pPr>
            <a:r>
              <a:rPr lang="es-CO" sz="1500" b="1" kern="0" dirty="0">
                <a:solidFill>
                  <a:srgbClr val="000000"/>
                </a:solidFill>
                <a:latin typeface="Century Gothic" panose="020B0502020202020204" pitchFamily="34" charset="0"/>
                <a:cs typeface="Arial"/>
                <a:sym typeface="Arial"/>
              </a:rPr>
              <a:t>3. SALUD Y BIENESTAR</a:t>
            </a:r>
          </a:p>
        </p:txBody>
      </p:sp>
      <p:grpSp>
        <p:nvGrpSpPr>
          <p:cNvPr id="23" name="Grupo 22">
            <a:extLst>
              <a:ext uri="{FF2B5EF4-FFF2-40B4-BE49-F238E27FC236}">
                <a16:creationId xmlns:a16="http://schemas.microsoft.com/office/drawing/2014/main" id="{B2EE4512-0CAE-4DF2-B174-FE94C014F9DA}"/>
              </a:ext>
            </a:extLst>
          </p:cNvPr>
          <p:cNvGrpSpPr/>
          <p:nvPr/>
        </p:nvGrpSpPr>
        <p:grpSpPr>
          <a:xfrm>
            <a:off x="8436277" y="3171554"/>
            <a:ext cx="3046355" cy="2643261"/>
            <a:chOff x="334963" y="1838325"/>
            <a:chExt cx="2484437" cy="2892907"/>
          </a:xfrm>
        </p:grpSpPr>
        <p:grpSp>
          <p:nvGrpSpPr>
            <p:cNvPr id="24" name="Grupo 12">
              <a:extLst>
                <a:ext uri="{FF2B5EF4-FFF2-40B4-BE49-F238E27FC236}">
                  <a16:creationId xmlns:a16="http://schemas.microsoft.com/office/drawing/2014/main" id="{6EE09BC1-97C9-406F-894E-DDE5FC68888D}"/>
                </a:ext>
              </a:extLst>
            </p:cNvPr>
            <p:cNvGrpSpPr>
              <a:grpSpLocks/>
            </p:cNvGrpSpPr>
            <p:nvPr/>
          </p:nvGrpSpPr>
          <p:grpSpPr bwMode="auto">
            <a:xfrm>
              <a:off x="334963" y="1843088"/>
              <a:ext cx="2484437" cy="2888144"/>
              <a:chOff x="684214" y="2060575"/>
              <a:chExt cx="2232025" cy="2349585"/>
            </a:xfrm>
          </p:grpSpPr>
          <p:sp>
            <p:nvSpPr>
              <p:cNvPr id="26" name="Redondear rectángulo de esquina diagonal 1">
                <a:extLst>
                  <a:ext uri="{FF2B5EF4-FFF2-40B4-BE49-F238E27FC236}">
                    <a16:creationId xmlns:a16="http://schemas.microsoft.com/office/drawing/2014/main" id="{B1A921CD-BAD3-4D5A-9DB1-9C7FEB49C45A}"/>
                  </a:ext>
                </a:extLst>
              </p:cNvPr>
              <p:cNvSpPr/>
              <p:nvPr/>
            </p:nvSpPr>
            <p:spPr>
              <a:xfrm>
                <a:off x="684214" y="2060575"/>
                <a:ext cx="2232025" cy="2349585"/>
              </a:xfrm>
              <a:prstGeom prst="round2DiagRect">
                <a:avLst>
                  <a:gd name="adj1" fmla="val 19895"/>
                  <a:gd name="adj2" fmla="val 0"/>
                </a:avLst>
              </a:prstGeom>
              <a:solidFill>
                <a:srgbClr val="F2B28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sp>
            <p:nvSpPr>
              <p:cNvPr id="27" name="Redondear rectángulo de esquina diagonal 5">
                <a:extLst>
                  <a:ext uri="{FF2B5EF4-FFF2-40B4-BE49-F238E27FC236}">
                    <a16:creationId xmlns:a16="http://schemas.microsoft.com/office/drawing/2014/main" id="{E6DC643D-B82A-4696-AACC-2801279B5ED7}"/>
                  </a:ext>
                </a:extLst>
              </p:cNvPr>
              <p:cNvSpPr/>
              <p:nvPr/>
            </p:nvSpPr>
            <p:spPr>
              <a:xfrm>
                <a:off x="684214" y="2060575"/>
                <a:ext cx="2232025" cy="997019"/>
              </a:xfrm>
              <a:prstGeom prst="round2DiagRect">
                <a:avLst>
                  <a:gd name="adj1" fmla="val 42065"/>
                  <a:gd name="adj2" fmla="val 0"/>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sp>
          <p:nvSpPr>
            <p:cNvPr id="25" name="Redondear rectángulo de esquina diagonal 20">
              <a:extLst>
                <a:ext uri="{FF2B5EF4-FFF2-40B4-BE49-F238E27FC236}">
                  <a16:creationId xmlns:a16="http://schemas.microsoft.com/office/drawing/2014/main" id="{834DADAC-EE58-413F-94C3-598606695832}"/>
                </a:ext>
              </a:extLst>
            </p:cNvPr>
            <p:cNvSpPr/>
            <p:nvPr/>
          </p:nvSpPr>
          <p:spPr bwMode="auto">
            <a:xfrm>
              <a:off x="334963" y="1838325"/>
              <a:ext cx="2484437" cy="612775"/>
            </a:xfrm>
            <a:prstGeom prst="round2DiagRect">
              <a:avLst>
                <a:gd name="adj1" fmla="val 50000"/>
                <a:gd name="adj2" fmla="val 0"/>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1219170">
                <a:buClr>
                  <a:srgbClr val="000000"/>
                </a:buClr>
                <a:defRPr/>
              </a:pPr>
              <a:endParaRPr lang="es-ES" sz="1867" kern="0" dirty="0">
                <a:solidFill>
                  <a:srgbClr val="FFFFFF"/>
                </a:solidFill>
                <a:latin typeface="Roboto Thin"/>
                <a:sym typeface="Arial"/>
              </a:endParaRPr>
            </a:p>
          </p:txBody>
        </p:sp>
      </p:grpSp>
      <p:pic>
        <p:nvPicPr>
          <p:cNvPr id="28" name="Imagen 27">
            <a:extLst>
              <a:ext uri="{FF2B5EF4-FFF2-40B4-BE49-F238E27FC236}">
                <a16:creationId xmlns:a16="http://schemas.microsoft.com/office/drawing/2014/main" id="{DB11C8FC-8A13-4632-8082-9C2D9BF462FE}"/>
              </a:ext>
            </a:extLst>
          </p:cNvPr>
          <p:cNvPicPr>
            <a:picLocks noChangeAspect="1"/>
          </p:cNvPicPr>
          <p:nvPr/>
        </p:nvPicPr>
        <p:blipFill rotWithShape="1">
          <a:blip r:embed="rId4"/>
          <a:srcRect l="24259" r="20368" b="-7423"/>
          <a:stretch/>
        </p:blipFill>
        <p:spPr>
          <a:xfrm>
            <a:off x="7777274" y="2763545"/>
            <a:ext cx="921916" cy="837485"/>
          </a:xfrm>
          <a:prstGeom prst="ellipse">
            <a:avLst/>
          </a:prstGeom>
          <a:ln w="38100">
            <a:noFill/>
          </a:ln>
        </p:spPr>
      </p:pic>
      <p:sp>
        <p:nvSpPr>
          <p:cNvPr id="29" name="Rectángulo 28">
            <a:extLst>
              <a:ext uri="{FF2B5EF4-FFF2-40B4-BE49-F238E27FC236}">
                <a16:creationId xmlns:a16="http://schemas.microsoft.com/office/drawing/2014/main" id="{440E52A7-064F-483C-B4F3-33B4579429F8}"/>
              </a:ext>
            </a:extLst>
          </p:cNvPr>
          <p:cNvSpPr/>
          <p:nvPr/>
        </p:nvSpPr>
        <p:spPr>
          <a:xfrm>
            <a:off x="8575167" y="3234462"/>
            <a:ext cx="2798941" cy="369332"/>
          </a:xfrm>
          <a:prstGeom prst="rect">
            <a:avLst/>
          </a:prstGeom>
        </p:spPr>
        <p:txBody>
          <a:bodyPr wrap="square">
            <a:spAutoFit/>
          </a:bodyPr>
          <a:lstStyle/>
          <a:p>
            <a:pPr algn="ctr" defTabSz="1219170">
              <a:buClr>
                <a:srgbClr val="000000"/>
              </a:buClr>
            </a:pPr>
            <a:r>
              <a:rPr lang="es-CO" b="1" kern="0" dirty="0">
                <a:solidFill>
                  <a:srgbClr val="010407"/>
                </a:solidFill>
                <a:latin typeface="Century Gothic" panose="020B0502020202020204" pitchFamily="34" charset="0"/>
                <a:ea typeface="Economica"/>
                <a:cs typeface="Economica"/>
                <a:sym typeface="Economica"/>
              </a:rPr>
              <a:t>N</a:t>
            </a:r>
            <a:r>
              <a:rPr lang="es-CO" sz="1467" b="1" kern="0" dirty="0">
                <a:solidFill>
                  <a:srgbClr val="010407"/>
                </a:solidFill>
                <a:latin typeface="Century Gothic" panose="020B0502020202020204" pitchFamily="34" charset="0"/>
                <a:ea typeface="Economica"/>
                <a:cs typeface="Economica"/>
                <a:sym typeface="Economica"/>
              </a:rPr>
              <a:t>UESTROS </a:t>
            </a:r>
            <a:r>
              <a:rPr lang="es-CO" b="1" kern="0" dirty="0">
                <a:solidFill>
                  <a:srgbClr val="010407"/>
                </a:solidFill>
                <a:latin typeface="Century Gothic" panose="020B0502020202020204" pitchFamily="34" charset="0"/>
                <a:ea typeface="Economica"/>
                <a:cs typeface="Economica"/>
                <a:sym typeface="Economica"/>
              </a:rPr>
              <a:t>R</a:t>
            </a:r>
            <a:r>
              <a:rPr lang="es-CO" sz="1467" b="1" kern="0" dirty="0">
                <a:solidFill>
                  <a:srgbClr val="010407"/>
                </a:solidFill>
                <a:latin typeface="Century Gothic" panose="020B0502020202020204" pitchFamily="34" charset="0"/>
                <a:ea typeface="Economica"/>
                <a:cs typeface="Economica"/>
                <a:sym typeface="Economica"/>
              </a:rPr>
              <a:t>ESULTADOS</a:t>
            </a:r>
          </a:p>
        </p:txBody>
      </p:sp>
      <p:sp>
        <p:nvSpPr>
          <p:cNvPr id="30" name="Google Shape;438;p68">
            <a:extLst>
              <a:ext uri="{FF2B5EF4-FFF2-40B4-BE49-F238E27FC236}">
                <a16:creationId xmlns:a16="http://schemas.microsoft.com/office/drawing/2014/main" id="{83ED8BBC-3D66-4E05-9291-3AA1842E6F14}"/>
              </a:ext>
            </a:extLst>
          </p:cNvPr>
          <p:cNvSpPr txBox="1"/>
          <p:nvPr/>
        </p:nvSpPr>
        <p:spPr>
          <a:xfrm>
            <a:off x="8218248" y="3736976"/>
            <a:ext cx="3438637" cy="818887"/>
          </a:xfrm>
          <a:prstGeom prst="rect">
            <a:avLst/>
          </a:prstGeom>
          <a:noFill/>
          <a:ln>
            <a:noFill/>
          </a:ln>
        </p:spPr>
        <p:txBody>
          <a:bodyPr spcFirstLastPara="1" wrap="square" lIns="121900" tIns="121900" rIns="121900" bIns="121900" anchor="t" anchorCtr="0">
            <a:noAutofit/>
          </a:bodyPr>
          <a:lstStyle/>
          <a:p>
            <a:pPr algn="ctr" defTabSz="1219170">
              <a:buClr>
                <a:srgbClr val="000000"/>
              </a:buClr>
            </a:pPr>
            <a:r>
              <a:rPr lang="es-MX" sz="1400" b="1" kern="0" dirty="0">
                <a:solidFill>
                  <a:srgbClr val="000000"/>
                </a:solidFill>
                <a:latin typeface="Century Gothic" panose="020B0502020202020204" pitchFamily="34" charset="0"/>
                <a:cs typeface="Arial"/>
                <a:sym typeface="Arial"/>
              </a:rPr>
              <a:t>CULTURA VIAL </a:t>
            </a:r>
            <a:endParaRPr lang="es-MX" sz="1400" b="1" kern="0" dirty="0">
              <a:solidFill>
                <a:srgbClr val="000000"/>
              </a:solidFill>
              <a:latin typeface="Century Gothic" panose="020B0502020202020204" pitchFamily="34" charset="0"/>
              <a:cs typeface="Arial"/>
              <a:sym typeface="Economica"/>
            </a:endParaRPr>
          </a:p>
        </p:txBody>
      </p:sp>
      <p:sp>
        <p:nvSpPr>
          <p:cNvPr id="33" name="Rectángulo 32">
            <a:extLst>
              <a:ext uri="{FF2B5EF4-FFF2-40B4-BE49-F238E27FC236}">
                <a16:creationId xmlns:a16="http://schemas.microsoft.com/office/drawing/2014/main" id="{B0DE8A98-54BA-4B01-89CA-D212366E5A76}"/>
              </a:ext>
            </a:extLst>
          </p:cNvPr>
          <p:cNvSpPr/>
          <p:nvPr/>
        </p:nvSpPr>
        <p:spPr>
          <a:xfrm>
            <a:off x="0" y="1128533"/>
            <a:ext cx="12192000" cy="340221"/>
          </a:xfrm>
          <a:prstGeom prst="rect">
            <a:avLst/>
          </a:prstGeom>
          <a:noFill/>
        </p:spPr>
        <p:txBody>
          <a:bodyPr wrap="square">
            <a:spAutoFit/>
          </a:bodyPr>
          <a:lstStyle/>
          <a:p>
            <a:pPr algn="ctr" defTabSz="1219170">
              <a:lnSpc>
                <a:spcPct val="110000"/>
              </a:lnSpc>
              <a:buClr>
                <a:srgbClr val="000000"/>
              </a:buClr>
            </a:pPr>
            <a:r>
              <a:rPr lang="es-CO" sz="1600" b="1" kern="0" dirty="0">
                <a:latin typeface="Century Gothic" panose="020B0502020202020204" pitchFamily="34" charset="0"/>
                <a:cs typeface="Arial"/>
                <a:sym typeface="Arial"/>
              </a:rPr>
              <a:t>La gestión social de la ANI contiene planes, programas y acciones enfocadas a:</a:t>
            </a:r>
          </a:p>
        </p:txBody>
      </p:sp>
      <p:sp>
        <p:nvSpPr>
          <p:cNvPr id="35" name="Rectángulo 34">
            <a:extLst>
              <a:ext uri="{FF2B5EF4-FFF2-40B4-BE49-F238E27FC236}">
                <a16:creationId xmlns:a16="http://schemas.microsoft.com/office/drawing/2014/main" id="{34F0B343-A6FB-4514-917A-8ACE25E79D2C}"/>
              </a:ext>
            </a:extLst>
          </p:cNvPr>
          <p:cNvSpPr/>
          <p:nvPr/>
        </p:nvSpPr>
        <p:spPr>
          <a:xfrm>
            <a:off x="8575167" y="4468439"/>
            <a:ext cx="2866715" cy="1015663"/>
          </a:xfrm>
          <a:prstGeom prst="rect">
            <a:avLst/>
          </a:prstGeom>
        </p:spPr>
        <p:txBody>
          <a:bodyPr wrap="square">
            <a:spAutoFit/>
          </a:bodyPr>
          <a:lstStyle/>
          <a:p>
            <a:pPr lvl="0" algn="ctr" defTabSz="1219170">
              <a:buClr>
                <a:srgbClr val="000000"/>
              </a:buClr>
              <a:defRPr/>
            </a:pPr>
            <a:r>
              <a:rPr lang="es-CO" sz="1200" kern="0" dirty="0">
                <a:solidFill>
                  <a:srgbClr val="000000"/>
                </a:solidFill>
                <a:latin typeface="Century Gothic" panose="020B0502020202020204" pitchFamily="34" charset="0"/>
                <a:cs typeface="Arial"/>
                <a:sym typeface="Arial"/>
              </a:rPr>
              <a:t>Más de </a:t>
            </a:r>
            <a:r>
              <a:rPr lang="es-CO" sz="1200" b="1" kern="0" dirty="0">
                <a:solidFill>
                  <a:srgbClr val="000000"/>
                </a:solidFill>
                <a:latin typeface="Century Gothic" panose="020B0502020202020204" pitchFamily="34" charset="0"/>
                <a:cs typeface="Arial"/>
                <a:sym typeface="Arial"/>
              </a:rPr>
              <a:t>166 campañas de cultura vial</a:t>
            </a:r>
            <a:r>
              <a:rPr lang="es-CO" sz="1200" kern="0" dirty="0">
                <a:solidFill>
                  <a:srgbClr val="000000"/>
                </a:solidFill>
                <a:latin typeface="Century Gothic" panose="020B0502020202020204" pitchFamily="34" charset="0"/>
                <a:cs typeface="Arial"/>
                <a:sym typeface="Arial"/>
              </a:rPr>
              <a:t> y </a:t>
            </a:r>
            <a:r>
              <a:rPr lang="es-CO" sz="1200" b="1" kern="0" dirty="0">
                <a:solidFill>
                  <a:srgbClr val="000000"/>
                </a:solidFill>
                <a:latin typeface="Century Gothic" panose="020B0502020202020204" pitchFamily="34" charset="0"/>
                <a:cs typeface="Arial"/>
                <a:sym typeface="Arial"/>
              </a:rPr>
              <a:t>340 actividades pedagógicas de formación </a:t>
            </a:r>
            <a:r>
              <a:rPr lang="es-CO" sz="1200" kern="0" dirty="0">
                <a:solidFill>
                  <a:srgbClr val="000000"/>
                </a:solidFill>
                <a:latin typeface="Century Gothic" panose="020B0502020202020204" pitchFamily="34" charset="0"/>
                <a:cs typeface="Arial"/>
                <a:sym typeface="Arial"/>
              </a:rPr>
              <a:t>que han impactado significativamente en </a:t>
            </a:r>
            <a:r>
              <a:rPr lang="es-CO" sz="1200" b="1" kern="0" dirty="0">
                <a:solidFill>
                  <a:srgbClr val="000000"/>
                </a:solidFill>
                <a:latin typeface="Century Gothic" panose="020B0502020202020204" pitchFamily="34" charset="0"/>
                <a:cs typeface="Arial"/>
                <a:sym typeface="Arial"/>
              </a:rPr>
              <a:t>144,500 personas. </a:t>
            </a:r>
            <a:endParaRPr lang="en-US" sz="1200" b="1" kern="0" dirty="0">
              <a:solidFill>
                <a:srgbClr val="000000"/>
              </a:solidFill>
              <a:latin typeface="Century Gothic" panose="020B0502020202020204" pitchFamily="34" charset="0"/>
              <a:cs typeface="Arial"/>
              <a:sym typeface="Arial"/>
            </a:endParaRPr>
          </a:p>
        </p:txBody>
      </p:sp>
    </p:spTree>
    <p:extLst>
      <p:ext uri="{BB962C8B-B14F-4D97-AF65-F5344CB8AC3E}">
        <p14:creationId xmlns:p14="http://schemas.microsoft.com/office/powerpoint/2010/main" val="256358868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N5EhUBZrUe.6bQ08g6vXw"/>
</p:tagLst>
</file>

<file path=ppt/theme/theme1.xml><?xml version="1.0" encoding="utf-8"?>
<a:theme xmlns:a="http://schemas.openxmlformats.org/drawingml/2006/main" name="Presidencia de Colomba">
  <a:themeElements>
    <a:clrScheme name="Presidencia">
      <a:dk1>
        <a:srgbClr val="073763"/>
      </a:dk1>
      <a:lt1>
        <a:srgbClr val="FFFFFF"/>
      </a:lt1>
      <a:dk2>
        <a:srgbClr val="3C78D8"/>
      </a:dk2>
      <a:lt2>
        <a:srgbClr val="A4C2F4"/>
      </a:lt2>
      <a:accent1>
        <a:srgbClr val="E4EDFE"/>
      </a:accent1>
      <a:accent2>
        <a:srgbClr val="B7CFFF"/>
      </a:accent2>
      <a:accent3>
        <a:srgbClr val="88ACF8"/>
      </a:accent3>
      <a:accent4>
        <a:srgbClr val="5B8BFF"/>
      </a:accent4>
      <a:accent5>
        <a:srgbClr val="6D98FF"/>
      </a:accent5>
      <a:accent6>
        <a:srgbClr val="2A54A7"/>
      </a:accent6>
      <a:hlink>
        <a:srgbClr val="F45721"/>
      </a:hlink>
      <a:folHlink>
        <a:srgbClr val="FFA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Presidencia de Colomba">
  <a:themeElements>
    <a:clrScheme name="Presidencia">
      <a:dk1>
        <a:srgbClr val="073763"/>
      </a:dk1>
      <a:lt1>
        <a:srgbClr val="FFFFFF"/>
      </a:lt1>
      <a:dk2>
        <a:srgbClr val="3C78D8"/>
      </a:dk2>
      <a:lt2>
        <a:srgbClr val="A4C2F4"/>
      </a:lt2>
      <a:accent1>
        <a:srgbClr val="E4EDFE"/>
      </a:accent1>
      <a:accent2>
        <a:srgbClr val="B7CFFF"/>
      </a:accent2>
      <a:accent3>
        <a:srgbClr val="88ACF8"/>
      </a:accent3>
      <a:accent4>
        <a:srgbClr val="5B8BFF"/>
      </a:accent4>
      <a:accent5>
        <a:srgbClr val="6D98FF"/>
      </a:accent5>
      <a:accent6>
        <a:srgbClr val="2A54A7"/>
      </a:accent6>
      <a:hlink>
        <a:srgbClr val="F45721"/>
      </a:hlink>
      <a:folHlink>
        <a:srgbClr val="FFA064"/>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0242</TotalTime>
  <Words>1845</Words>
  <Application>Microsoft Office PowerPoint</Application>
  <PresentationFormat>Panorámica</PresentationFormat>
  <Paragraphs>195</Paragraphs>
  <Slides>18</Slides>
  <Notes>3</Notes>
  <HiddenSlides>0</HiddenSlides>
  <MMClips>0</MMClips>
  <ScaleCrop>false</ScaleCrop>
  <HeadingPairs>
    <vt:vector size="6" baseType="variant">
      <vt:variant>
        <vt:lpstr>Fuentes usadas</vt:lpstr>
      </vt:variant>
      <vt:variant>
        <vt:i4>7</vt:i4>
      </vt:variant>
      <vt:variant>
        <vt:lpstr>Tema</vt:lpstr>
      </vt:variant>
      <vt:variant>
        <vt:i4>2</vt:i4>
      </vt:variant>
      <vt:variant>
        <vt:lpstr>Títulos de diapositiva</vt:lpstr>
      </vt:variant>
      <vt:variant>
        <vt:i4>18</vt:i4>
      </vt:variant>
    </vt:vector>
  </HeadingPairs>
  <TitlesOfParts>
    <vt:vector size="27" baseType="lpstr">
      <vt:lpstr>Arial</vt:lpstr>
      <vt:lpstr>Calibri</vt:lpstr>
      <vt:lpstr>Century Gothic</vt:lpstr>
      <vt:lpstr>Roboto Thin</vt:lpstr>
      <vt:lpstr>Work Sans</vt:lpstr>
      <vt:lpstr>Work Sans Light</vt:lpstr>
      <vt:lpstr>Work Sans SemiBold</vt:lpstr>
      <vt:lpstr>Presidencia de Colomba</vt:lpstr>
      <vt:lpstr>1_Presidencia de Colomba</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Vanessa Maria Vergara Dominguez</dc:creator>
  <cp:lastModifiedBy>Hector Eduardo Vanegas Gamez</cp:lastModifiedBy>
  <cp:revision>316</cp:revision>
  <cp:lastPrinted>2019-08-26T23:10:02Z</cp:lastPrinted>
  <dcterms:created xsi:type="dcterms:W3CDTF">2018-01-12T20:27:41Z</dcterms:created>
  <dcterms:modified xsi:type="dcterms:W3CDTF">2020-01-08T16:53:15Z</dcterms:modified>
</cp:coreProperties>
</file>